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6"/>
  </p:notesMasterIdLst>
  <p:handoutMasterIdLst>
    <p:handoutMasterId r:id="rId23"/>
  </p:handoutMasterIdLst>
  <p:sldIdLst>
    <p:sldId id="256" r:id="rId3"/>
    <p:sldId id="258" r:id="rId4"/>
    <p:sldId id="437" r:id="rId5"/>
    <p:sldId id="1728" r:id="rId7"/>
    <p:sldId id="1833" r:id="rId8"/>
    <p:sldId id="1824" r:id="rId9"/>
    <p:sldId id="1854" r:id="rId10"/>
    <p:sldId id="1855" r:id="rId11"/>
    <p:sldId id="1856" r:id="rId12"/>
    <p:sldId id="430" r:id="rId13"/>
    <p:sldId id="434" r:id="rId14"/>
    <p:sldId id="281" r:id="rId15"/>
    <p:sldId id="271" r:id="rId16"/>
    <p:sldId id="310" r:id="rId17"/>
    <p:sldId id="1844" r:id="rId18"/>
    <p:sldId id="1849" r:id="rId19"/>
    <p:sldId id="1846" r:id="rId20"/>
    <p:sldId id="1845" r:id="rId21"/>
    <p:sldId id="261" r:id="rId2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3F3F"/>
    <a:srgbClr val="FFE0C1"/>
    <a:srgbClr val="FFE8D1"/>
    <a:srgbClr val="FFCC99"/>
    <a:srgbClr val="F55959"/>
    <a:srgbClr val="CC3300"/>
    <a:srgbClr val="11155B"/>
    <a:srgbClr val="A20000"/>
    <a:srgbClr val="A40000"/>
    <a:srgbClr val="9E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42" autoAdjust="0"/>
    <p:restoredTop sz="95837" autoAdjust="0"/>
  </p:normalViewPr>
  <p:slideViewPr>
    <p:cSldViewPr snapToGrid="0">
      <p:cViewPr varScale="1">
        <p:scale>
          <a:sx n="89" d="100"/>
          <a:sy n="89" d="100"/>
        </p:scale>
        <p:origin x="-558" y="-108"/>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6" Type="http://schemas.openxmlformats.org/officeDocument/2006/relationships/tableStyles" Target="tableStyles.xml"/><Relationship Id="rId25" Type="http://schemas.openxmlformats.org/officeDocument/2006/relationships/viewProps" Target="viewProps.xml"/><Relationship Id="rId24" Type="http://schemas.openxmlformats.org/officeDocument/2006/relationships/presProps" Target="presProps.xml"/><Relationship Id="rId23" Type="http://schemas.openxmlformats.org/officeDocument/2006/relationships/handoutMaster" Target="handoutMasters/handoutMaster1.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200" kern="1200" dirty="0">
                <a:solidFill>
                  <a:schemeClr val="tx1"/>
                </a:solidFill>
                <a:effectLst/>
                <a:latin typeface="+mn-lt"/>
                <a:ea typeface="+mn-ea"/>
                <a:cs typeface="+mn-cs"/>
              </a:rPr>
              <a:t>以上就是今天跟大家分享的全部内容，如果您有贷款方面的需求可以扫描屏幕上方的二维码进行在线预约申请，也可电话咨询我行的金融顾问为您企业制定专属贷款方案，非常感谢大家的聆听！</a:t>
            </a:r>
            <a:endParaRPr lang="zh-CN"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200" kern="1200" dirty="0">
                <a:solidFill>
                  <a:schemeClr val="tx1"/>
                </a:solidFill>
                <a:effectLst/>
                <a:latin typeface="+mn-lt"/>
                <a:ea typeface="+mn-ea"/>
                <a:cs typeface="+mn-cs"/>
              </a:rPr>
              <a:t>其中，“支小贷业务”是指银行使用人行再贷款资金专门为小微企业发放的贷款业务，并且可以纳入“四位一体”融资平台享受政府贴息及风险补偿政策的一款产品。特别是在疫情期间，为全力支持企业疫情防控和复工复产，人行先后推出</a:t>
            </a:r>
            <a:r>
              <a:rPr lang="en-US" altLang="zh-CN" sz="1200" kern="1200" dirty="0">
                <a:solidFill>
                  <a:schemeClr val="tx1"/>
                </a:solidFill>
                <a:effectLst/>
                <a:latin typeface="+mn-lt"/>
                <a:ea typeface="+mn-ea"/>
                <a:cs typeface="+mn-cs"/>
              </a:rPr>
              <a:t>3000</a:t>
            </a:r>
            <a:r>
              <a:rPr lang="zh-CN" altLang="zh-CN" sz="1200" kern="1200" dirty="0">
                <a:solidFill>
                  <a:schemeClr val="tx1"/>
                </a:solidFill>
                <a:effectLst/>
                <a:latin typeface="+mn-lt"/>
                <a:ea typeface="+mn-ea"/>
                <a:cs typeface="+mn-cs"/>
              </a:rPr>
              <a:t>亿元和</a:t>
            </a:r>
            <a:r>
              <a:rPr lang="en-US" altLang="zh-CN" sz="1200" kern="1200" dirty="0">
                <a:solidFill>
                  <a:schemeClr val="tx1"/>
                </a:solidFill>
                <a:effectLst/>
                <a:latin typeface="+mn-lt"/>
                <a:ea typeface="+mn-ea"/>
                <a:cs typeface="+mn-cs"/>
              </a:rPr>
              <a:t>5000</a:t>
            </a:r>
            <a:r>
              <a:rPr lang="zh-CN" altLang="zh-CN" sz="1200" kern="1200" dirty="0">
                <a:solidFill>
                  <a:schemeClr val="tx1"/>
                </a:solidFill>
                <a:effectLst/>
                <a:latin typeface="+mn-lt"/>
                <a:ea typeface="+mn-ea"/>
                <a:cs typeface="+mn-cs"/>
              </a:rPr>
              <a:t>亿元再贷款额度，金融机构提供低息贷款，共同解决企业资金难题。支小贷业务支持的对象主要是小微企业及企业主、个体工商户，单户最高申请</a:t>
            </a:r>
            <a:r>
              <a:rPr lang="en-US" altLang="zh-CN" sz="1200" kern="1200" dirty="0">
                <a:solidFill>
                  <a:schemeClr val="tx1"/>
                </a:solidFill>
                <a:effectLst/>
                <a:latin typeface="+mn-lt"/>
                <a:ea typeface="+mn-ea"/>
                <a:cs typeface="+mn-cs"/>
              </a:rPr>
              <a:t>1000</a:t>
            </a:r>
            <a:r>
              <a:rPr lang="zh-CN" altLang="zh-CN" sz="1200" kern="1200" dirty="0">
                <a:solidFill>
                  <a:schemeClr val="tx1"/>
                </a:solidFill>
                <a:effectLst/>
                <a:latin typeface="+mn-lt"/>
                <a:ea typeface="+mn-ea"/>
                <a:cs typeface="+mn-cs"/>
              </a:rPr>
              <a:t>万元，期限最长</a:t>
            </a:r>
            <a:r>
              <a:rPr lang="en-US" altLang="zh-CN" sz="1200" kern="1200" dirty="0">
                <a:solidFill>
                  <a:schemeClr val="tx1"/>
                </a:solidFill>
                <a:effectLst/>
                <a:latin typeface="+mn-lt"/>
                <a:ea typeface="+mn-ea"/>
                <a:cs typeface="+mn-cs"/>
              </a:rPr>
              <a:t>3</a:t>
            </a:r>
            <a:r>
              <a:rPr lang="zh-CN" altLang="zh-CN" sz="1200" kern="1200" dirty="0">
                <a:solidFill>
                  <a:schemeClr val="tx1"/>
                </a:solidFill>
                <a:effectLst/>
                <a:latin typeface="+mn-lt"/>
                <a:ea typeface="+mn-ea"/>
                <a:cs typeface="+mn-cs"/>
              </a:rPr>
              <a:t>年，主要是用于满足企业日常经营周转所需的流动资金。</a:t>
            </a:r>
            <a:endParaRPr lang="zh-CN"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200" kern="1200" dirty="0">
                <a:solidFill>
                  <a:schemeClr val="tx1"/>
                </a:solidFill>
                <a:effectLst/>
                <a:latin typeface="+mn-lt"/>
                <a:ea typeface="+mn-ea"/>
                <a:cs typeface="+mn-cs"/>
              </a:rPr>
              <a:t>这款产品主要有四个特点，一是重点支持制造业、住宿餐饮、交通运输、文化旅游、外贸、批发零售等行业；第二对于该类业务我们银行都是优先受理，简化手续，加快放款；并且在</a:t>
            </a:r>
            <a:r>
              <a:rPr lang="en-US" altLang="zh-CN" sz="1200" kern="1200" dirty="0">
                <a:solidFill>
                  <a:schemeClr val="tx1"/>
                </a:solidFill>
                <a:effectLst/>
                <a:latin typeface="+mn-lt"/>
                <a:ea typeface="+mn-ea"/>
                <a:cs typeface="+mn-cs"/>
              </a:rPr>
              <a:t>6</a:t>
            </a:r>
            <a:r>
              <a:rPr lang="zh-CN" altLang="zh-CN" sz="1200" kern="1200" dirty="0">
                <a:solidFill>
                  <a:schemeClr val="tx1"/>
                </a:solidFill>
                <a:effectLst/>
                <a:latin typeface="+mn-lt"/>
                <a:ea typeface="+mn-ea"/>
                <a:cs typeface="+mn-cs"/>
              </a:rPr>
              <a:t>月</a:t>
            </a:r>
            <a:r>
              <a:rPr lang="en-US" altLang="zh-CN" sz="1200" kern="1200" dirty="0">
                <a:solidFill>
                  <a:schemeClr val="tx1"/>
                </a:solidFill>
                <a:effectLst/>
                <a:latin typeface="+mn-lt"/>
                <a:ea typeface="+mn-ea"/>
                <a:cs typeface="+mn-cs"/>
              </a:rPr>
              <a:t>20</a:t>
            </a:r>
            <a:r>
              <a:rPr lang="zh-CN" altLang="zh-CN" sz="1200" kern="1200" dirty="0">
                <a:solidFill>
                  <a:schemeClr val="tx1"/>
                </a:solidFill>
                <a:effectLst/>
                <a:latin typeface="+mn-lt"/>
                <a:ea typeface="+mn-ea"/>
                <a:cs typeface="+mn-cs"/>
              </a:rPr>
              <a:t>日前申请该类业务的小微企业可享受低至当期</a:t>
            </a:r>
            <a:r>
              <a:rPr lang="en-US" altLang="zh-CN" sz="1200" kern="1200" dirty="0">
                <a:solidFill>
                  <a:schemeClr val="tx1"/>
                </a:solidFill>
                <a:effectLst/>
                <a:latin typeface="+mn-lt"/>
                <a:ea typeface="+mn-ea"/>
                <a:cs typeface="+mn-cs"/>
              </a:rPr>
              <a:t>LPR</a:t>
            </a:r>
            <a:r>
              <a:rPr lang="zh-CN" altLang="zh-CN" sz="1200" kern="1200" dirty="0">
                <a:solidFill>
                  <a:schemeClr val="tx1"/>
                </a:solidFill>
                <a:effectLst/>
                <a:latin typeface="+mn-lt"/>
                <a:ea typeface="+mn-ea"/>
                <a:cs typeface="+mn-cs"/>
              </a:rPr>
              <a:t>利率优惠，对于符合条件的企业，可纳入“四位一体”扶持政策，按</a:t>
            </a:r>
            <a:r>
              <a:rPr lang="en-US" altLang="zh-CN" sz="1200" kern="1200" dirty="0">
                <a:solidFill>
                  <a:schemeClr val="tx1"/>
                </a:solidFill>
                <a:effectLst/>
                <a:latin typeface="+mn-lt"/>
                <a:ea typeface="+mn-ea"/>
                <a:cs typeface="+mn-cs"/>
              </a:rPr>
              <a:t>LPR</a:t>
            </a:r>
            <a:r>
              <a:rPr lang="zh-CN" altLang="zh-CN" sz="1200" kern="1200" dirty="0">
                <a:solidFill>
                  <a:schemeClr val="tx1"/>
                </a:solidFill>
                <a:effectLst/>
                <a:latin typeface="+mn-lt"/>
                <a:ea typeface="+mn-ea"/>
                <a:cs typeface="+mn-cs"/>
              </a:rPr>
              <a:t>的</a:t>
            </a:r>
            <a:r>
              <a:rPr lang="en-US" altLang="zh-CN" sz="1200" kern="1200" dirty="0">
                <a:solidFill>
                  <a:schemeClr val="tx1"/>
                </a:solidFill>
                <a:effectLst/>
                <a:latin typeface="+mn-lt"/>
                <a:ea typeface="+mn-ea"/>
                <a:cs typeface="+mn-cs"/>
              </a:rPr>
              <a:t>50%</a:t>
            </a:r>
            <a:r>
              <a:rPr lang="zh-CN" altLang="zh-CN" sz="1200" kern="1200" dirty="0">
                <a:solidFill>
                  <a:schemeClr val="tx1"/>
                </a:solidFill>
                <a:effectLst/>
                <a:latin typeface="+mn-lt"/>
                <a:ea typeface="+mn-ea"/>
                <a:cs typeface="+mn-cs"/>
              </a:rPr>
              <a:t>给予贴息，单个企业最高</a:t>
            </a:r>
            <a:r>
              <a:rPr lang="en-US" altLang="zh-CN" sz="1200" kern="1200" dirty="0">
                <a:solidFill>
                  <a:schemeClr val="tx1"/>
                </a:solidFill>
                <a:effectLst/>
                <a:latin typeface="+mn-lt"/>
                <a:ea typeface="+mn-ea"/>
                <a:cs typeface="+mn-cs"/>
              </a:rPr>
              <a:t>50</a:t>
            </a:r>
            <a:r>
              <a:rPr lang="zh-CN" altLang="zh-CN" sz="1200" kern="1200" dirty="0">
                <a:solidFill>
                  <a:schemeClr val="tx1"/>
                </a:solidFill>
                <a:effectLst/>
                <a:latin typeface="+mn-lt"/>
                <a:ea typeface="+mn-ea"/>
                <a:cs typeface="+mn-cs"/>
              </a:rPr>
              <a:t>万。</a:t>
            </a:r>
            <a:endParaRPr lang="zh-CN"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200" kern="1200" dirty="0">
                <a:solidFill>
                  <a:schemeClr val="tx1"/>
                </a:solidFill>
                <a:effectLst/>
                <a:latin typeface="+mn-lt"/>
                <a:ea typeface="+mn-ea"/>
                <a:cs typeface="+mn-cs"/>
              </a:rPr>
              <a:t>接下来是“四位一体”技改贷，该业务是由政府、人民银行、金融机构和企业四方共同组成，专项支持工业企业技术改造融资的一种合作方式，由市工信局组织建立扶持企业库名录，扶持对象为符合珠海市产业发展政策，完成技术改造投资项目备案的工业企业。</a:t>
            </a:r>
            <a:endParaRPr lang="zh-CN"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200" kern="1200" dirty="0">
                <a:solidFill>
                  <a:schemeClr val="tx1"/>
                </a:solidFill>
                <a:effectLst/>
                <a:latin typeface="+mn-lt"/>
                <a:ea typeface="+mn-ea"/>
                <a:cs typeface="+mn-cs"/>
              </a:rPr>
              <a:t>单个企业可申请技改贷贷款金额最高为</a:t>
            </a:r>
            <a:r>
              <a:rPr lang="en-US" altLang="zh-CN" sz="1200" kern="1200" dirty="0">
                <a:solidFill>
                  <a:schemeClr val="tx1"/>
                </a:solidFill>
                <a:effectLst/>
                <a:latin typeface="+mn-lt"/>
                <a:ea typeface="+mn-ea"/>
                <a:cs typeface="+mn-cs"/>
              </a:rPr>
              <a:t>3000</a:t>
            </a:r>
            <a:r>
              <a:rPr lang="zh-CN" altLang="zh-CN" sz="1200" kern="1200" dirty="0">
                <a:solidFill>
                  <a:schemeClr val="tx1"/>
                </a:solidFill>
                <a:effectLst/>
                <a:latin typeface="+mn-lt"/>
                <a:ea typeface="+mn-ea"/>
                <a:cs typeface="+mn-cs"/>
              </a:rPr>
              <a:t>万元，期限最长</a:t>
            </a:r>
            <a:r>
              <a:rPr lang="en-US" altLang="zh-CN" sz="1200" kern="1200" dirty="0">
                <a:solidFill>
                  <a:schemeClr val="tx1"/>
                </a:solidFill>
                <a:effectLst/>
                <a:latin typeface="+mn-lt"/>
                <a:ea typeface="+mn-ea"/>
                <a:cs typeface="+mn-cs"/>
              </a:rPr>
              <a:t>3</a:t>
            </a:r>
            <a:r>
              <a:rPr lang="zh-CN" altLang="zh-CN" sz="1200" kern="1200" dirty="0">
                <a:solidFill>
                  <a:schemeClr val="tx1"/>
                </a:solidFill>
                <a:effectLst/>
                <a:latin typeface="+mn-lt"/>
                <a:ea typeface="+mn-ea"/>
                <a:cs typeface="+mn-cs"/>
              </a:rPr>
              <a:t>年，贷款利率不超过基准利率的</a:t>
            </a:r>
            <a:r>
              <a:rPr lang="en-US" altLang="zh-CN" sz="1200" kern="1200" dirty="0">
                <a:solidFill>
                  <a:schemeClr val="tx1"/>
                </a:solidFill>
                <a:effectLst/>
                <a:latin typeface="+mn-lt"/>
                <a:ea typeface="+mn-ea"/>
                <a:cs typeface="+mn-cs"/>
              </a:rPr>
              <a:t>1.3</a:t>
            </a:r>
            <a:r>
              <a:rPr lang="zh-CN" altLang="zh-CN" sz="1200" kern="1200" dirty="0">
                <a:solidFill>
                  <a:schemeClr val="tx1"/>
                </a:solidFill>
                <a:effectLst/>
                <a:latin typeface="+mn-lt"/>
                <a:ea typeface="+mn-ea"/>
                <a:cs typeface="+mn-cs"/>
              </a:rPr>
              <a:t>倍，贷款可用于日常流动资金周转，也可用于企业技术改造、新建扩建项目等方面。同时，每笔技改贷项目可获政府</a:t>
            </a:r>
            <a:r>
              <a:rPr lang="en-US" altLang="zh-CN" sz="1200" kern="1200" dirty="0">
                <a:solidFill>
                  <a:schemeClr val="tx1"/>
                </a:solidFill>
                <a:effectLst/>
                <a:latin typeface="+mn-lt"/>
                <a:ea typeface="+mn-ea"/>
                <a:cs typeface="+mn-cs"/>
              </a:rPr>
              <a:t>50%</a:t>
            </a:r>
            <a:r>
              <a:rPr lang="zh-CN" altLang="zh-CN" sz="1200" kern="1200" dirty="0">
                <a:solidFill>
                  <a:schemeClr val="tx1"/>
                </a:solidFill>
                <a:effectLst/>
                <a:latin typeface="+mn-lt"/>
                <a:ea typeface="+mn-ea"/>
                <a:cs typeface="+mn-cs"/>
              </a:rPr>
              <a:t>的风险补偿，单户最高</a:t>
            </a:r>
            <a:r>
              <a:rPr lang="en-US" altLang="zh-CN" sz="1200" kern="1200" dirty="0">
                <a:solidFill>
                  <a:schemeClr val="tx1"/>
                </a:solidFill>
                <a:effectLst/>
                <a:latin typeface="+mn-lt"/>
                <a:ea typeface="+mn-ea"/>
                <a:cs typeface="+mn-cs"/>
              </a:rPr>
              <a:t>500</a:t>
            </a:r>
            <a:r>
              <a:rPr lang="zh-CN" altLang="zh-CN" sz="1200" kern="1200" dirty="0">
                <a:solidFill>
                  <a:schemeClr val="tx1"/>
                </a:solidFill>
                <a:effectLst/>
                <a:latin typeface="+mn-lt"/>
                <a:ea typeface="+mn-ea"/>
                <a:cs typeface="+mn-cs"/>
              </a:rPr>
              <a:t>万元，为工业企业在银行贷款增信担保。</a:t>
            </a:r>
            <a:endParaRPr lang="zh-CN"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kern="1200" dirty="0">
                <a:solidFill>
                  <a:schemeClr val="tx1"/>
                </a:solidFill>
                <a:effectLst/>
                <a:latin typeface="+mn-lt"/>
                <a:ea typeface="+mn-ea"/>
                <a:cs typeface="+mn-cs"/>
              </a:rPr>
              <a:t>1</a:t>
            </a:r>
            <a:r>
              <a:rPr lang="zh-CN" altLang="en-US" sz="1200" kern="1200" dirty="0">
                <a:solidFill>
                  <a:schemeClr val="tx1"/>
                </a:solidFill>
                <a:effectLst/>
                <a:latin typeface="+mn-lt"/>
                <a:ea typeface="+mn-ea"/>
                <a:cs typeface="+mn-cs"/>
              </a:rPr>
              <a:t>、</a:t>
            </a:r>
            <a:r>
              <a:rPr lang="zh-CN" altLang="zh-CN" sz="1200" kern="1200" dirty="0">
                <a:solidFill>
                  <a:schemeClr val="tx1"/>
                </a:solidFill>
                <a:effectLst/>
                <a:latin typeface="+mn-lt"/>
                <a:ea typeface="+mn-ea"/>
                <a:cs typeface="+mn-cs"/>
              </a:rPr>
              <a:t>相信大部分企业都可能遇到过贷款即将到期，而足额还贷出现暂时困难的情况，为切实解决民营、小微企业转贷难，转贷成本高的问题，“四位一体”平台与我行专门合作推出转贷引导融资平台业务。</a:t>
            </a: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kern="1200" dirty="0">
                <a:solidFill>
                  <a:schemeClr val="tx1"/>
                </a:solidFill>
                <a:effectLst/>
                <a:latin typeface="+mn-lt"/>
                <a:ea typeface="+mn-ea"/>
                <a:cs typeface="+mn-cs"/>
              </a:rPr>
              <a:t>2</a:t>
            </a:r>
            <a:r>
              <a:rPr lang="zh-CN" altLang="en-US" sz="1200" kern="1200" dirty="0">
                <a:solidFill>
                  <a:schemeClr val="tx1"/>
                </a:solidFill>
                <a:effectLst/>
                <a:latin typeface="+mn-lt"/>
                <a:ea typeface="+mn-ea"/>
                <a:cs typeface="+mn-cs"/>
              </a:rPr>
              <a:t>、</a:t>
            </a:r>
            <a:r>
              <a:rPr lang="zh-CN" altLang="zh-CN" sz="1200" kern="1200" dirty="0">
                <a:solidFill>
                  <a:schemeClr val="tx1"/>
                </a:solidFill>
                <a:effectLst/>
                <a:latin typeface="+mn-lt"/>
                <a:ea typeface="+mn-ea"/>
                <a:cs typeface="+mn-cs"/>
              </a:rPr>
              <a:t>该业务是由政府、国有金融服务机构（珠海华金普惠金融服务有限公司）共同出资</a:t>
            </a:r>
            <a:r>
              <a:rPr lang="en-US" altLang="zh-CN" sz="1200" kern="1200" dirty="0">
                <a:solidFill>
                  <a:schemeClr val="tx1"/>
                </a:solidFill>
                <a:effectLst/>
                <a:latin typeface="+mn-lt"/>
                <a:ea typeface="+mn-ea"/>
                <a:cs typeface="+mn-cs"/>
              </a:rPr>
              <a:t>6000</a:t>
            </a:r>
            <a:r>
              <a:rPr lang="zh-CN" altLang="zh-CN" sz="1200" kern="1200" dirty="0">
                <a:solidFill>
                  <a:schemeClr val="tx1"/>
                </a:solidFill>
                <a:effectLst/>
                <a:latin typeface="+mn-lt"/>
                <a:ea typeface="+mn-ea"/>
                <a:cs typeface="+mn-cs"/>
              </a:rPr>
              <a:t>万元，组建了转贷引导资金池，为企业归还我行贷款提供资金支持，解决企业借新还旧问题。转贷资金使用时间原则上不超过</a:t>
            </a:r>
            <a:r>
              <a:rPr lang="en-US" altLang="zh-CN" sz="1200" kern="1200" dirty="0">
                <a:solidFill>
                  <a:schemeClr val="tx1"/>
                </a:solidFill>
                <a:effectLst/>
                <a:latin typeface="+mn-lt"/>
                <a:ea typeface="+mn-ea"/>
                <a:cs typeface="+mn-cs"/>
              </a:rPr>
              <a:t>10</a:t>
            </a:r>
            <a:r>
              <a:rPr lang="zh-CN" altLang="zh-CN" sz="1200" kern="1200" dirty="0">
                <a:solidFill>
                  <a:schemeClr val="tx1"/>
                </a:solidFill>
                <a:effectLst/>
                <a:latin typeface="+mn-lt"/>
                <a:ea typeface="+mn-ea"/>
                <a:cs typeface="+mn-cs"/>
              </a:rPr>
              <a:t>天，金额单笔最高</a:t>
            </a:r>
            <a:r>
              <a:rPr lang="en-US" altLang="zh-CN" sz="1200" kern="1200" dirty="0">
                <a:solidFill>
                  <a:schemeClr val="tx1"/>
                </a:solidFill>
                <a:effectLst/>
                <a:latin typeface="+mn-lt"/>
                <a:ea typeface="+mn-ea"/>
                <a:cs typeface="+mn-cs"/>
              </a:rPr>
              <a:t>1500</a:t>
            </a:r>
            <a:r>
              <a:rPr lang="zh-CN" altLang="zh-CN" sz="1200" kern="1200" dirty="0">
                <a:solidFill>
                  <a:schemeClr val="tx1"/>
                </a:solidFill>
                <a:effectLst/>
                <a:latin typeface="+mn-lt"/>
                <a:ea typeface="+mn-ea"/>
                <a:cs typeface="+mn-cs"/>
              </a:rPr>
              <a:t>万元，费用按贷款金额的</a:t>
            </a:r>
            <a:r>
              <a:rPr lang="en-US" altLang="zh-CN" sz="1200" kern="1200" dirty="0">
                <a:solidFill>
                  <a:schemeClr val="tx1"/>
                </a:solidFill>
                <a:effectLst/>
                <a:latin typeface="+mn-lt"/>
                <a:ea typeface="+mn-ea"/>
                <a:cs typeface="+mn-cs"/>
              </a:rPr>
              <a:t>0.5‰/</a:t>
            </a:r>
            <a:r>
              <a:rPr lang="zh-CN" altLang="zh-CN" sz="1200" kern="1200" dirty="0">
                <a:solidFill>
                  <a:schemeClr val="tx1"/>
                </a:solidFill>
                <a:effectLst/>
                <a:latin typeface="+mn-lt"/>
                <a:ea typeface="+mn-ea"/>
                <a:cs typeface="+mn-cs"/>
              </a:rPr>
              <a:t>天收取，并且在疫情期间减按万分之四每天收取，也就是</a:t>
            </a:r>
            <a:r>
              <a:rPr lang="en-US" altLang="zh-CN" sz="1200" kern="1200" dirty="0">
                <a:solidFill>
                  <a:schemeClr val="tx1"/>
                </a:solidFill>
                <a:effectLst/>
                <a:latin typeface="+mn-lt"/>
                <a:ea typeface="+mn-ea"/>
                <a:cs typeface="+mn-cs"/>
              </a:rPr>
              <a:t>100</a:t>
            </a:r>
            <a:r>
              <a:rPr lang="zh-CN" altLang="zh-CN" sz="1200" kern="1200" dirty="0">
                <a:solidFill>
                  <a:schemeClr val="tx1"/>
                </a:solidFill>
                <a:effectLst/>
                <a:latin typeface="+mn-lt"/>
                <a:ea typeface="+mn-ea"/>
                <a:cs typeface="+mn-cs"/>
              </a:rPr>
              <a:t>万元一天费用仅需</a:t>
            </a:r>
            <a:r>
              <a:rPr lang="en-US" altLang="zh-CN" sz="1200" kern="1200" dirty="0">
                <a:solidFill>
                  <a:schemeClr val="tx1"/>
                </a:solidFill>
                <a:effectLst/>
                <a:latin typeface="+mn-lt"/>
                <a:ea typeface="+mn-ea"/>
                <a:cs typeface="+mn-cs"/>
              </a:rPr>
              <a:t>400</a:t>
            </a:r>
            <a:r>
              <a:rPr lang="zh-CN" altLang="zh-CN" sz="1200" kern="1200" dirty="0">
                <a:solidFill>
                  <a:schemeClr val="tx1"/>
                </a:solidFill>
                <a:effectLst/>
                <a:latin typeface="+mn-lt"/>
                <a:ea typeface="+mn-ea"/>
                <a:cs typeface="+mn-cs"/>
              </a:rPr>
              <a:t>元，较大幅度降低企业转贷资金成本。</a:t>
            </a: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kern="1200" dirty="0">
                <a:solidFill>
                  <a:schemeClr val="tx1"/>
                </a:solidFill>
                <a:effectLst/>
                <a:latin typeface="+mn-lt"/>
                <a:ea typeface="+mn-ea"/>
                <a:cs typeface="+mn-cs"/>
              </a:rPr>
              <a:t>3</a:t>
            </a:r>
            <a:r>
              <a:rPr lang="zh-CN" altLang="en-US" sz="1200" kern="1200" dirty="0">
                <a:solidFill>
                  <a:schemeClr val="tx1"/>
                </a:solidFill>
                <a:effectLst/>
                <a:latin typeface="+mn-lt"/>
                <a:ea typeface="+mn-ea"/>
                <a:cs typeface="+mn-cs"/>
              </a:rPr>
              <a:t>、</a:t>
            </a:r>
            <a:r>
              <a:rPr lang="zh-CN" altLang="zh-CN" sz="1200" kern="1200" dirty="0">
                <a:solidFill>
                  <a:schemeClr val="tx1"/>
                </a:solidFill>
                <a:effectLst/>
                <a:latin typeface="+mn-lt"/>
                <a:ea typeface="+mn-ea"/>
                <a:cs typeface="+mn-cs"/>
              </a:rPr>
              <a:t>那要达到什么样的条件就可以申请转贷业务呢？只要申请企业正常经营、信用记录良好、在我行的原贷款是正常类的，满足以上条件的，均可向我行申请办理该业务。同时，整个业务办理流程最快</a:t>
            </a:r>
            <a:r>
              <a:rPr lang="en-US" altLang="zh-CN" sz="1200" kern="1200" dirty="0">
                <a:solidFill>
                  <a:schemeClr val="tx1"/>
                </a:solidFill>
                <a:effectLst/>
                <a:latin typeface="+mn-lt"/>
                <a:ea typeface="+mn-ea"/>
                <a:cs typeface="+mn-cs"/>
              </a:rPr>
              <a:t>3</a:t>
            </a:r>
            <a:r>
              <a:rPr lang="zh-CN" altLang="zh-CN" sz="1200" kern="1200" dirty="0">
                <a:solidFill>
                  <a:schemeClr val="tx1"/>
                </a:solidFill>
                <a:effectLst/>
                <a:latin typeface="+mn-lt"/>
                <a:ea typeface="+mn-ea"/>
                <a:cs typeface="+mn-cs"/>
              </a:rPr>
              <a:t>个工作日就可以完成。除了上述的</a:t>
            </a:r>
            <a:r>
              <a:rPr lang="en-US" altLang="zh-CN" sz="1200" kern="1200" dirty="0">
                <a:solidFill>
                  <a:schemeClr val="tx1"/>
                </a:solidFill>
                <a:effectLst/>
                <a:latin typeface="+mn-lt"/>
                <a:ea typeface="+mn-ea"/>
                <a:cs typeface="+mn-cs"/>
              </a:rPr>
              <a:t>3</a:t>
            </a:r>
            <a:r>
              <a:rPr lang="zh-CN" altLang="zh-CN" sz="1200" kern="1200" dirty="0">
                <a:solidFill>
                  <a:schemeClr val="tx1"/>
                </a:solidFill>
                <a:effectLst/>
                <a:latin typeface="+mn-lt"/>
                <a:ea typeface="+mn-ea"/>
                <a:cs typeface="+mn-cs"/>
              </a:rPr>
              <a:t>款产品，我行还开展了“四位一体”担保融资平台业务，该业务是由担保公司为企业担保在我行申请的贷款，可同时享受政府贴息及担保费用的补贴，具体的业务办理条件及流程接下来由粤财担保为大家做详细的介绍。</a:t>
            </a:r>
            <a:endParaRPr lang="zh-CN"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zh-CN"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bg>
      <p:bgPr>
        <a:gradFill flip="none" rotWithShape="1">
          <a:gsLst>
            <a:gs pos="0">
              <a:schemeClr val="bg1"/>
            </a:gs>
            <a:gs pos="100000">
              <a:schemeClr val="bg2"/>
            </a:gs>
          </a:gsLst>
          <a:lin ang="5400000" scaled="0"/>
          <a:tileRect/>
        </a:gradFill>
        <a:effectLst/>
      </p:bgPr>
    </p:bg>
    <p:spTree>
      <p:nvGrpSpPr>
        <p:cNvPr id="1" name=""/>
        <p:cNvGrpSpPr/>
        <p:nvPr/>
      </p:nvGrpSpPr>
      <p:grpSpPr>
        <a:xfrm>
          <a:off x="0" y="0"/>
          <a:ext cx="0" cy="0"/>
          <a:chOff x="0" y="0"/>
          <a:chExt cx="0" cy="0"/>
        </a:xfrm>
      </p:grpSpPr>
      <p:sp>
        <p:nvSpPr>
          <p:cNvPr id="14" name="任意多边形: 形状 13"/>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blipFill>
            <a:blip r:embed="rId2"/>
            <a:srcRect/>
            <a:stretch>
              <a:fillRect t="-41106" b="-88712"/>
            </a:stretch>
          </a:bli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zh-CN" altLang="en-US"/>
          </a:p>
        </p:txBody>
      </p:sp>
      <p:sp>
        <p:nvSpPr>
          <p:cNvPr id="16" name="Freeform 13_1"/>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gradFill>
            <a:gsLst>
              <a:gs pos="0">
                <a:schemeClr val="accent1">
                  <a:alpha val="20000"/>
                </a:schemeClr>
              </a:gs>
              <a:gs pos="100000">
                <a:schemeClr val="accent1">
                  <a:alpha val="0"/>
                </a:schemeClr>
              </a:gs>
            </a:gsLst>
            <a:lin ang="16200000" scaled="1"/>
          </a:gradFill>
          <a:ln>
            <a:noFill/>
          </a:ln>
        </p:spPr>
        <p:txBody>
          <a:bodyPr vert="horz" wrap="square" lIns="91440" tIns="45720" rIns="91440" bIns="45720" numCol="1" anchor="t" anchorCtr="0" compatLnSpc="1">
            <a:noAutofit/>
          </a:bodyPr>
          <a:lstStyle/>
          <a:p>
            <a:endParaRPr lang="zh-CN" altLang="en-US"/>
          </a:p>
        </p:txBody>
      </p:sp>
      <p:sp>
        <p:nvSpPr>
          <p:cNvPr id="9801" name="副标题 2"/>
          <p:cNvSpPr>
            <a:spLocks noGrp="1"/>
          </p:cNvSpPr>
          <p:nvPr userDrawn="1">
            <p:ph type="subTitle" idx="1"/>
          </p:nvPr>
        </p:nvSpPr>
        <p:spPr>
          <a:xfrm>
            <a:off x="673099" y="4936173"/>
            <a:ext cx="10845800" cy="558799"/>
          </a:xfrm>
        </p:spPr>
        <p:txBody>
          <a:bodyPr anchor="t">
            <a:normAutofit/>
          </a:bodyPr>
          <a:lstStyle>
            <a:lvl1pPr marL="0" indent="0" algn="ctr">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673099" y="2739340"/>
            <a:ext cx="10845800" cy="2196833"/>
          </a:xfrm>
        </p:spPr>
        <p:txBody>
          <a:bodyPr anchor="b">
            <a:normAutofit/>
          </a:bodyPr>
          <a:lstStyle>
            <a:lvl1pPr algn="ctr">
              <a:defRPr sz="4000">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5646333"/>
            <a:ext cx="10845800" cy="296271"/>
          </a:xfrm>
        </p:spPr>
        <p:txBody>
          <a:bodyPr vert="horz" anchor="ctr">
            <a:noAutofit/>
          </a:bodyPr>
          <a:lstStyle>
            <a:lvl1pPr marL="0" indent="0" algn="ctr">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673099" y="5942604"/>
            <a:ext cx="10845800" cy="296271"/>
          </a:xfrm>
        </p:spPr>
        <p:txBody>
          <a:bodyPr vert="horz" anchor="ctr">
            <a:noAutofit/>
          </a:bodyPr>
          <a:lstStyle>
            <a:lvl1pPr marL="0" indent="0" algn="ctr">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grpSp>
        <p:nvGrpSpPr>
          <p:cNvPr id="11"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2"/>
            </p:custDataLst>
          </p:nvPr>
        </p:nvGrpSpPr>
        <p:grpSpPr>
          <a:xfrm>
            <a:off x="248111" y="2603500"/>
            <a:ext cx="7526952" cy="2950992"/>
            <a:chOff x="654511" y="1531088"/>
            <a:chExt cx="10877774" cy="4264704"/>
          </a:xfrm>
          <a:solidFill>
            <a:schemeClr val="tx2">
              <a:lumMod val="20000"/>
              <a:lumOff val="80000"/>
            </a:schemeClr>
          </a:solidFill>
        </p:grpSpPr>
        <p:sp>
          <p:nvSpPr>
            <p:cNvPr id="12" name="íSlïḓè"/>
            <p:cNvSpPr/>
            <p:nvPr/>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p>
          </p:txBody>
        </p:sp>
        <p:sp>
          <p:nvSpPr>
            <p:cNvPr id="13" name="išļiḋe"/>
            <p:cNvSpPr/>
            <p:nvPr/>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p>
          </p:txBody>
        </p:sp>
        <p:sp>
          <p:nvSpPr>
            <p:cNvPr id="14" name="îslide"/>
            <p:cNvSpPr/>
            <p:nvPr/>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p>
          </p:txBody>
        </p:sp>
        <p:sp>
          <p:nvSpPr>
            <p:cNvPr id="15" name="ïśḻïḓé"/>
            <p:cNvSpPr/>
            <p:nvPr/>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p>
          </p:txBody>
        </p:sp>
        <p:sp>
          <p:nvSpPr>
            <p:cNvPr id="16" name="ïślíḓè"/>
            <p:cNvSpPr/>
            <p:nvPr/>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p>
          </p:txBody>
        </p:sp>
        <p:sp>
          <p:nvSpPr>
            <p:cNvPr id="17" name="íśļïďe"/>
            <p:cNvSpPr/>
            <p:nvPr/>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p>
          </p:txBody>
        </p:sp>
        <p:sp>
          <p:nvSpPr>
            <p:cNvPr id="18" name="ïsḷiḋe"/>
            <p:cNvSpPr/>
            <p:nvPr/>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19" name="ísḻîḋê"/>
            <p:cNvSpPr/>
            <p:nvPr/>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22" name="íşľíḍe"/>
            <p:cNvSpPr/>
            <p:nvPr/>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p>
          </p:txBody>
        </p:sp>
        <p:sp>
          <p:nvSpPr>
            <p:cNvPr id="23" name="íṩlídé"/>
            <p:cNvSpPr/>
            <p:nvPr/>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p>
          </p:txBody>
        </p:sp>
        <p:sp>
          <p:nvSpPr>
            <p:cNvPr id="24" name="ïš1íďê"/>
            <p:cNvSpPr/>
            <p:nvPr/>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p>
          </p:txBody>
        </p:sp>
        <p:sp>
          <p:nvSpPr>
            <p:cNvPr id="25" name="îṧlidê"/>
            <p:cNvSpPr/>
            <p:nvPr/>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p>
          </p:txBody>
        </p:sp>
        <p:sp>
          <p:nvSpPr>
            <p:cNvPr id="26" name="íš1ïḑé"/>
            <p:cNvSpPr/>
            <p:nvPr/>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p>
          </p:txBody>
        </p:sp>
        <p:sp>
          <p:nvSpPr>
            <p:cNvPr id="27" name="îś1íďê"/>
            <p:cNvSpPr/>
            <p:nvPr/>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p>
          </p:txBody>
        </p:sp>
        <p:sp>
          <p:nvSpPr>
            <p:cNvPr id="28" name="ïSḷíḑè"/>
            <p:cNvSpPr/>
            <p:nvPr/>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p>
          </p:txBody>
        </p:sp>
        <p:sp>
          <p:nvSpPr>
            <p:cNvPr id="29" name="iṩ1ídè"/>
            <p:cNvSpPr/>
            <p:nvPr/>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p>
          </p:txBody>
        </p:sp>
        <p:sp>
          <p:nvSpPr>
            <p:cNvPr id="30" name="iSliḓè"/>
            <p:cNvSpPr/>
            <p:nvPr/>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31" name="ïṡḷîďé"/>
            <p:cNvSpPr/>
            <p:nvPr/>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32" name="iṥḻíḓê"/>
            <p:cNvSpPr/>
            <p:nvPr/>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33" name="íṣḻíḍê"/>
            <p:cNvSpPr/>
            <p:nvPr/>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p>
          </p:txBody>
        </p:sp>
        <p:sp>
          <p:nvSpPr>
            <p:cNvPr id="34" name="iś1îdé"/>
            <p:cNvSpPr/>
            <p:nvPr/>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p>
          </p:txBody>
        </p:sp>
        <p:sp>
          <p:nvSpPr>
            <p:cNvPr id="35" name="ïsḷîḓè"/>
            <p:cNvSpPr/>
            <p:nvPr/>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p>
          </p:txBody>
        </p:sp>
        <p:sp>
          <p:nvSpPr>
            <p:cNvPr id="36" name="íŝľîḑé"/>
            <p:cNvSpPr/>
            <p:nvPr/>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p>
          </p:txBody>
        </p:sp>
        <p:sp>
          <p:nvSpPr>
            <p:cNvPr id="37" name="i$1iḍe"/>
            <p:cNvSpPr/>
            <p:nvPr/>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38" name="îṥḷiďè"/>
            <p:cNvSpPr/>
            <p:nvPr/>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p>
          </p:txBody>
        </p:sp>
        <p:sp>
          <p:nvSpPr>
            <p:cNvPr id="39" name="íṧļíďé"/>
            <p:cNvSpPr/>
            <p:nvPr/>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40" name="íSliḓê"/>
            <p:cNvSpPr/>
            <p:nvPr/>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p>
          </p:txBody>
        </p:sp>
        <p:sp>
          <p:nvSpPr>
            <p:cNvPr id="41" name="ïṡḷíde"/>
            <p:cNvSpPr/>
            <p:nvPr/>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42" name="íŝ1íḋè"/>
            <p:cNvSpPr/>
            <p:nvPr/>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p>
          </p:txBody>
        </p:sp>
        <p:sp>
          <p:nvSpPr>
            <p:cNvPr id="43" name="ïşḻiḋé"/>
            <p:cNvSpPr/>
            <p:nvPr/>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44" name="ïṣlíḋê"/>
            <p:cNvSpPr/>
            <p:nvPr/>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p>
          </p:txBody>
        </p:sp>
        <p:sp>
          <p:nvSpPr>
            <p:cNvPr id="45" name="ïSḻïḍé"/>
            <p:cNvSpPr/>
            <p:nvPr/>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p>
          </p:txBody>
        </p:sp>
        <p:sp>
          <p:nvSpPr>
            <p:cNvPr id="46" name="išľiḍê"/>
            <p:cNvSpPr/>
            <p:nvPr/>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47" name="ísľîḓe"/>
            <p:cNvSpPr/>
            <p:nvPr/>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48" name="íSļíḑê"/>
            <p:cNvSpPr/>
            <p:nvPr/>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p>
          </p:txBody>
        </p:sp>
        <p:sp>
          <p:nvSpPr>
            <p:cNvPr id="49" name="î$ḻîde"/>
            <p:cNvSpPr/>
            <p:nvPr/>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p>
          </p:txBody>
        </p:sp>
        <p:sp>
          <p:nvSpPr>
            <p:cNvPr id="50" name="îṩ1ïḑê"/>
            <p:cNvSpPr/>
            <p:nvPr/>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p>
          </p:txBody>
        </p:sp>
        <p:sp>
          <p:nvSpPr>
            <p:cNvPr id="51" name="iṥlîdè"/>
            <p:cNvSpPr/>
            <p:nvPr/>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p>
          </p:txBody>
        </p:sp>
        <p:sp>
          <p:nvSpPr>
            <p:cNvPr id="52" name="ïṥļïḓe"/>
            <p:cNvSpPr/>
            <p:nvPr/>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p>
          </p:txBody>
        </p:sp>
        <p:sp>
          <p:nvSpPr>
            <p:cNvPr id="53" name="iṡḻïdè"/>
            <p:cNvSpPr/>
            <p:nvPr/>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54" name="íṥľïḋe"/>
            <p:cNvSpPr/>
            <p:nvPr/>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55" name="îṥḷíḑê"/>
            <p:cNvSpPr/>
            <p:nvPr/>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p>
          </p:txBody>
        </p:sp>
        <p:sp>
          <p:nvSpPr>
            <p:cNvPr id="56" name="ïṩļíḍè"/>
            <p:cNvSpPr/>
            <p:nvPr/>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p>
          </p:txBody>
        </p:sp>
        <p:sp>
          <p:nvSpPr>
            <p:cNvPr id="57" name="ïṧḻiḑe"/>
            <p:cNvSpPr/>
            <p:nvPr/>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58" name="íṣľïḑê"/>
            <p:cNvSpPr/>
            <p:nvPr/>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p>
          </p:txBody>
        </p:sp>
        <p:sp>
          <p:nvSpPr>
            <p:cNvPr id="59" name="iṣľïḋê"/>
            <p:cNvSpPr/>
            <p:nvPr/>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p>
          </p:txBody>
        </p:sp>
        <p:sp>
          <p:nvSpPr>
            <p:cNvPr id="60" name="î$liďé"/>
            <p:cNvSpPr/>
            <p:nvPr/>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p>
          </p:txBody>
        </p:sp>
        <p:sp>
          <p:nvSpPr>
            <p:cNvPr id="61" name="îṡḻîdè"/>
            <p:cNvSpPr/>
            <p:nvPr/>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p>
          </p:txBody>
        </p:sp>
        <p:sp>
          <p:nvSpPr>
            <p:cNvPr id="62" name="íṣḻîďe"/>
            <p:cNvSpPr/>
            <p:nvPr/>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p>
          </p:txBody>
        </p:sp>
        <p:sp>
          <p:nvSpPr>
            <p:cNvPr id="63" name="íśḻíḓé"/>
            <p:cNvSpPr/>
            <p:nvPr/>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p>
          </p:txBody>
        </p:sp>
        <p:sp>
          <p:nvSpPr>
            <p:cNvPr id="64" name="îšḻïḋê"/>
            <p:cNvSpPr/>
            <p:nvPr/>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p>
          </p:txBody>
        </p:sp>
        <p:sp>
          <p:nvSpPr>
            <p:cNvPr id="65" name="íslîďe"/>
            <p:cNvSpPr/>
            <p:nvPr/>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66" name="işḻiḑe"/>
            <p:cNvSpPr/>
            <p:nvPr/>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p>
          </p:txBody>
        </p:sp>
        <p:sp>
          <p:nvSpPr>
            <p:cNvPr id="67" name="iṥļiḋe"/>
            <p:cNvSpPr/>
            <p:nvPr/>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p>
          </p:txBody>
        </p:sp>
        <p:sp>
          <p:nvSpPr>
            <p:cNvPr id="68" name="ïṣḷíḍe"/>
            <p:cNvSpPr/>
            <p:nvPr/>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p>
          </p:txBody>
        </p:sp>
        <p:sp>
          <p:nvSpPr>
            <p:cNvPr id="69" name="ï$ļíḍe"/>
            <p:cNvSpPr/>
            <p:nvPr/>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p>
          </p:txBody>
        </p:sp>
        <p:sp>
          <p:nvSpPr>
            <p:cNvPr id="70" name="ïṣ1iḍê"/>
            <p:cNvSpPr/>
            <p:nvPr/>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p>
          </p:txBody>
        </p:sp>
        <p:sp>
          <p:nvSpPr>
            <p:cNvPr id="71" name="iṧḷïḍe"/>
            <p:cNvSpPr/>
            <p:nvPr/>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2" name="í$ļïḋe"/>
            <p:cNvSpPr/>
            <p:nvPr/>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3" name="iṥļïdé"/>
            <p:cNvSpPr/>
            <p:nvPr/>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4" name="ísḷiḓé"/>
            <p:cNvSpPr/>
            <p:nvPr/>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p>
          </p:txBody>
        </p:sp>
        <p:sp>
          <p:nvSpPr>
            <p:cNvPr id="75" name="îṣļïḍê"/>
            <p:cNvSpPr/>
            <p:nvPr/>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p>
          </p:txBody>
        </p:sp>
        <p:sp>
          <p:nvSpPr>
            <p:cNvPr id="76" name="iSlîdè"/>
            <p:cNvSpPr/>
            <p:nvPr/>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p>
          </p:txBody>
        </p:sp>
        <p:sp>
          <p:nvSpPr>
            <p:cNvPr id="77" name="íslîďe"/>
            <p:cNvSpPr/>
            <p:nvPr/>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p>
          </p:txBody>
        </p:sp>
        <p:sp>
          <p:nvSpPr>
            <p:cNvPr id="78" name="í$ḻíḍê"/>
            <p:cNvSpPr/>
            <p:nvPr/>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p>
          </p:txBody>
        </p:sp>
        <p:sp>
          <p:nvSpPr>
            <p:cNvPr id="79" name="íšļîḓe"/>
            <p:cNvSpPr/>
            <p:nvPr/>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p>
          </p:txBody>
        </p:sp>
        <p:sp>
          <p:nvSpPr>
            <p:cNvPr id="80" name="iş1idê"/>
            <p:cNvSpPr/>
            <p:nvPr/>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p>
          </p:txBody>
        </p:sp>
        <p:sp>
          <p:nvSpPr>
            <p:cNvPr id="81" name="íṩḷîḓè"/>
            <p:cNvSpPr/>
            <p:nvPr/>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p>
          </p:txBody>
        </p:sp>
        <p:sp>
          <p:nvSpPr>
            <p:cNvPr id="82" name="ïṩľiḑê"/>
            <p:cNvSpPr/>
            <p:nvPr/>
          </p:nvSpPr>
          <p:spPr bwMode="auto">
            <a:xfrm>
              <a:off x="5758578" y="1953855"/>
              <a:ext cx="106464" cy="63261"/>
            </a:xfrm>
            <a:prstGeom prst="ellipse">
              <a:avLst/>
            </a:prstGeom>
            <a:grpFill/>
            <a:ln>
              <a:noFill/>
            </a:ln>
          </p:spPr>
          <p:txBody>
            <a:bodyPr anchor="ctr"/>
            <a:lstStyle/>
            <a:p>
              <a:pPr algn="ctr"/>
            </a:p>
          </p:txBody>
        </p:sp>
        <p:sp>
          <p:nvSpPr>
            <p:cNvPr id="83" name="íṣlîḓè"/>
            <p:cNvSpPr/>
            <p:nvPr/>
          </p:nvSpPr>
          <p:spPr bwMode="auto">
            <a:xfrm>
              <a:off x="5886643" y="1953855"/>
              <a:ext cx="101834" cy="63261"/>
            </a:xfrm>
            <a:prstGeom prst="ellipse">
              <a:avLst/>
            </a:prstGeom>
            <a:grpFill/>
            <a:ln>
              <a:noFill/>
            </a:ln>
          </p:spPr>
          <p:txBody>
            <a:bodyPr anchor="ctr"/>
            <a:lstStyle/>
            <a:p>
              <a:pPr algn="ctr"/>
            </a:p>
          </p:txBody>
        </p:sp>
        <p:sp>
          <p:nvSpPr>
            <p:cNvPr id="84" name="ï$lîḍé"/>
            <p:cNvSpPr/>
            <p:nvPr/>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p>
          </p:txBody>
        </p:sp>
        <p:sp>
          <p:nvSpPr>
            <p:cNvPr id="85" name="íṩlïḑe"/>
            <p:cNvSpPr/>
            <p:nvPr/>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p>
          </p:txBody>
        </p:sp>
        <p:sp>
          <p:nvSpPr>
            <p:cNvPr id="86" name="íśḻídè"/>
            <p:cNvSpPr/>
            <p:nvPr/>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p>
          </p:txBody>
        </p:sp>
        <p:sp>
          <p:nvSpPr>
            <p:cNvPr id="87" name="íṧľîḍê"/>
            <p:cNvSpPr/>
            <p:nvPr/>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p>
          </p:txBody>
        </p:sp>
        <p:sp>
          <p:nvSpPr>
            <p:cNvPr id="88" name="íśľîḋe"/>
            <p:cNvSpPr/>
            <p:nvPr/>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p>
          </p:txBody>
        </p:sp>
        <p:sp>
          <p:nvSpPr>
            <p:cNvPr id="89" name="iṩlîḋê"/>
            <p:cNvSpPr/>
            <p:nvPr/>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p>
          </p:txBody>
        </p:sp>
        <p:sp>
          <p:nvSpPr>
            <p:cNvPr id="90" name="îŝ1iḋè"/>
            <p:cNvSpPr/>
            <p:nvPr/>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p>
          </p:txBody>
        </p:sp>
        <p:sp>
          <p:nvSpPr>
            <p:cNvPr id="91" name="ïşḻíḓè"/>
            <p:cNvSpPr/>
            <p:nvPr/>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p>
          </p:txBody>
        </p:sp>
        <p:sp>
          <p:nvSpPr>
            <p:cNvPr id="92" name="ïšľïḋê"/>
            <p:cNvSpPr/>
            <p:nvPr/>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p>
          </p:txBody>
        </p:sp>
        <p:sp>
          <p:nvSpPr>
            <p:cNvPr id="93" name="ïsḷíḋe"/>
            <p:cNvSpPr/>
            <p:nvPr/>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p>
          </p:txBody>
        </p:sp>
        <p:sp>
          <p:nvSpPr>
            <p:cNvPr id="94" name="iṧ1iďe"/>
            <p:cNvSpPr/>
            <p:nvPr/>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p>
          </p:txBody>
        </p:sp>
        <p:sp>
          <p:nvSpPr>
            <p:cNvPr id="95" name="ïŝ1iďè"/>
            <p:cNvSpPr/>
            <p:nvPr/>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p>
          </p:txBody>
        </p:sp>
        <p:sp>
          <p:nvSpPr>
            <p:cNvPr id="96" name="ísļiḓè"/>
            <p:cNvSpPr/>
            <p:nvPr/>
          </p:nvSpPr>
          <p:spPr bwMode="auto">
            <a:xfrm>
              <a:off x="5886643" y="2108150"/>
              <a:ext cx="106464" cy="64804"/>
            </a:xfrm>
            <a:prstGeom prst="ellipse">
              <a:avLst/>
            </a:prstGeom>
            <a:grpFill/>
            <a:ln>
              <a:noFill/>
            </a:ln>
          </p:spPr>
          <p:txBody>
            <a:bodyPr anchor="ctr"/>
            <a:lstStyle/>
            <a:p>
              <a:pPr algn="ctr"/>
            </a:p>
          </p:txBody>
        </p:sp>
        <p:sp>
          <p:nvSpPr>
            <p:cNvPr id="97" name="ïsļiḑè"/>
            <p:cNvSpPr/>
            <p:nvPr/>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p>
          </p:txBody>
        </p:sp>
        <p:sp>
          <p:nvSpPr>
            <p:cNvPr id="98" name="î$1íḑe"/>
            <p:cNvSpPr/>
            <p:nvPr/>
          </p:nvSpPr>
          <p:spPr bwMode="auto">
            <a:xfrm>
              <a:off x="5766293" y="2188383"/>
              <a:ext cx="109550" cy="69433"/>
            </a:xfrm>
            <a:prstGeom prst="ellipse">
              <a:avLst/>
            </a:prstGeom>
            <a:grpFill/>
            <a:ln>
              <a:noFill/>
            </a:ln>
          </p:spPr>
          <p:txBody>
            <a:bodyPr anchor="ctr"/>
            <a:lstStyle/>
            <a:p>
              <a:pPr algn="ctr"/>
            </a:p>
          </p:txBody>
        </p:sp>
        <p:sp>
          <p:nvSpPr>
            <p:cNvPr id="99" name="isľïdè"/>
            <p:cNvSpPr/>
            <p:nvPr/>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p>
          </p:txBody>
        </p:sp>
        <p:sp>
          <p:nvSpPr>
            <p:cNvPr id="100" name="iṧḻïḍe"/>
            <p:cNvSpPr/>
            <p:nvPr/>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p>
          </p:txBody>
        </p:sp>
        <p:sp>
          <p:nvSpPr>
            <p:cNvPr id="101" name="işḻiḍe"/>
            <p:cNvSpPr/>
            <p:nvPr/>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p>
          </p:txBody>
        </p:sp>
        <p:sp>
          <p:nvSpPr>
            <p:cNvPr id="102" name="íṧľíḍe"/>
            <p:cNvSpPr/>
            <p:nvPr/>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p>
          </p:txBody>
        </p:sp>
        <p:sp>
          <p:nvSpPr>
            <p:cNvPr id="103" name="îs1îḍê"/>
            <p:cNvSpPr/>
            <p:nvPr/>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p>
          </p:txBody>
        </p:sp>
        <p:sp>
          <p:nvSpPr>
            <p:cNvPr id="104" name="ïṩ1iďê"/>
            <p:cNvSpPr/>
            <p:nvPr/>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p>
          </p:txBody>
        </p:sp>
        <p:sp>
          <p:nvSpPr>
            <p:cNvPr id="105" name="ïṡ1idê"/>
            <p:cNvSpPr/>
            <p:nvPr/>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p>
          </p:txBody>
        </p:sp>
        <p:sp>
          <p:nvSpPr>
            <p:cNvPr id="106" name="î$ļîďé"/>
            <p:cNvSpPr/>
            <p:nvPr/>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p>
          </p:txBody>
        </p:sp>
        <p:sp>
          <p:nvSpPr>
            <p:cNvPr id="107" name="íṣḷïďê"/>
            <p:cNvSpPr/>
            <p:nvPr/>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p>
          </p:txBody>
        </p:sp>
        <p:sp>
          <p:nvSpPr>
            <p:cNvPr id="108" name="îṧḷiḍê"/>
            <p:cNvSpPr/>
            <p:nvPr/>
          </p:nvSpPr>
          <p:spPr bwMode="auto">
            <a:xfrm>
              <a:off x="5766293" y="2271702"/>
              <a:ext cx="109550" cy="69433"/>
            </a:xfrm>
            <a:prstGeom prst="ellipse">
              <a:avLst/>
            </a:prstGeom>
            <a:grpFill/>
            <a:ln>
              <a:noFill/>
            </a:ln>
          </p:spPr>
          <p:txBody>
            <a:bodyPr anchor="ctr"/>
            <a:lstStyle/>
            <a:p>
              <a:pPr algn="ctr"/>
            </a:p>
          </p:txBody>
        </p:sp>
        <p:sp>
          <p:nvSpPr>
            <p:cNvPr id="109" name="íṩľiḓe"/>
            <p:cNvSpPr/>
            <p:nvPr/>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p>
          </p:txBody>
        </p:sp>
        <p:sp>
          <p:nvSpPr>
            <p:cNvPr id="110" name="is1ide"/>
            <p:cNvSpPr/>
            <p:nvPr/>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p>
          </p:txBody>
        </p:sp>
        <p:sp>
          <p:nvSpPr>
            <p:cNvPr id="111" name="iśḷîḓe"/>
            <p:cNvSpPr/>
            <p:nvPr/>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p>
          </p:txBody>
        </p:sp>
        <p:sp>
          <p:nvSpPr>
            <p:cNvPr id="112" name="îSlíḋê"/>
            <p:cNvSpPr/>
            <p:nvPr/>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p>
          </p:txBody>
        </p:sp>
        <p:sp>
          <p:nvSpPr>
            <p:cNvPr id="113" name="iSļiḍe"/>
            <p:cNvSpPr/>
            <p:nvPr/>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p>
          </p:txBody>
        </p:sp>
        <p:sp>
          <p:nvSpPr>
            <p:cNvPr id="114" name="iṧḻiḓé"/>
            <p:cNvSpPr/>
            <p:nvPr/>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p>
          </p:txBody>
        </p:sp>
        <p:sp>
          <p:nvSpPr>
            <p:cNvPr id="115" name="îśľîḍê"/>
            <p:cNvSpPr/>
            <p:nvPr/>
          </p:nvSpPr>
          <p:spPr bwMode="auto">
            <a:xfrm>
              <a:off x="5766293" y="2356565"/>
              <a:ext cx="109550" cy="69433"/>
            </a:xfrm>
            <a:prstGeom prst="ellipse">
              <a:avLst/>
            </a:prstGeom>
            <a:grpFill/>
            <a:ln>
              <a:noFill/>
            </a:ln>
          </p:spPr>
          <p:txBody>
            <a:bodyPr anchor="ctr"/>
            <a:lstStyle/>
            <a:p>
              <a:pPr algn="ctr"/>
            </a:p>
          </p:txBody>
        </p:sp>
        <p:sp>
          <p:nvSpPr>
            <p:cNvPr id="116" name="îśļîḓé"/>
            <p:cNvSpPr/>
            <p:nvPr/>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p>
          </p:txBody>
        </p:sp>
        <p:sp>
          <p:nvSpPr>
            <p:cNvPr id="117" name="işḻíḑè"/>
            <p:cNvSpPr/>
            <p:nvPr/>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p>
          </p:txBody>
        </p:sp>
        <p:sp>
          <p:nvSpPr>
            <p:cNvPr id="118" name="îşlídê"/>
            <p:cNvSpPr/>
            <p:nvPr/>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p>
          </p:txBody>
        </p:sp>
        <p:sp>
          <p:nvSpPr>
            <p:cNvPr id="119" name="îšḷïdè"/>
            <p:cNvSpPr/>
            <p:nvPr/>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p>
          </p:txBody>
        </p:sp>
        <p:sp>
          <p:nvSpPr>
            <p:cNvPr id="120" name="íSļidé"/>
            <p:cNvSpPr/>
            <p:nvPr/>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p>
          </p:txBody>
        </p:sp>
        <p:sp>
          <p:nvSpPr>
            <p:cNvPr id="121" name="ïSļíḓê"/>
            <p:cNvSpPr/>
            <p:nvPr/>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p>
          </p:txBody>
        </p:sp>
        <p:sp>
          <p:nvSpPr>
            <p:cNvPr id="122" name="íṡlïdè"/>
            <p:cNvSpPr/>
            <p:nvPr/>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p>
          </p:txBody>
        </p:sp>
        <p:sp>
          <p:nvSpPr>
            <p:cNvPr id="123" name="iṣlíḍê"/>
            <p:cNvSpPr/>
            <p:nvPr/>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p>
          </p:txBody>
        </p:sp>
        <p:sp>
          <p:nvSpPr>
            <p:cNvPr id="124" name="íS1îdé"/>
            <p:cNvSpPr/>
            <p:nvPr/>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p>
          </p:txBody>
        </p:sp>
        <p:sp>
          <p:nvSpPr>
            <p:cNvPr id="125" name="iŝliḍê"/>
            <p:cNvSpPr/>
            <p:nvPr/>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p>
          </p:txBody>
        </p:sp>
        <p:sp>
          <p:nvSpPr>
            <p:cNvPr id="126" name="iSḻíḓé"/>
            <p:cNvSpPr/>
            <p:nvPr/>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p>
          </p:txBody>
        </p:sp>
        <p:sp>
          <p:nvSpPr>
            <p:cNvPr id="127" name="ïṡlídé"/>
            <p:cNvSpPr/>
            <p:nvPr/>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p>
          </p:txBody>
        </p:sp>
        <p:sp>
          <p:nvSpPr>
            <p:cNvPr id="128" name="îŝḻiḓè"/>
            <p:cNvSpPr/>
            <p:nvPr/>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p>
          </p:txBody>
        </p:sp>
        <p:sp>
          <p:nvSpPr>
            <p:cNvPr id="129" name="išļîďe"/>
            <p:cNvSpPr/>
            <p:nvPr/>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p>
          </p:txBody>
        </p:sp>
        <p:sp>
          <p:nvSpPr>
            <p:cNvPr id="130" name="ísḻïḋe"/>
            <p:cNvSpPr/>
            <p:nvPr/>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p>
          </p:txBody>
        </p:sp>
        <p:sp>
          <p:nvSpPr>
            <p:cNvPr id="131" name="îs1íḓê"/>
            <p:cNvSpPr/>
            <p:nvPr/>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p>
          </p:txBody>
        </p:sp>
        <p:sp>
          <p:nvSpPr>
            <p:cNvPr id="132" name="îṣḻîḑe"/>
            <p:cNvSpPr/>
            <p:nvPr/>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p>
          </p:txBody>
        </p:sp>
        <p:sp>
          <p:nvSpPr>
            <p:cNvPr id="133" name="îS1ídè"/>
            <p:cNvSpPr/>
            <p:nvPr/>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p>
          </p:txBody>
        </p:sp>
        <p:sp>
          <p:nvSpPr>
            <p:cNvPr id="134" name="ïšḻïdé"/>
            <p:cNvSpPr/>
            <p:nvPr/>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p>
          </p:txBody>
        </p:sp>
        <p:sp>
          <p:nvSpPr>
            <p:cNvPr id="135" name="iṡlïdé"/>
            <p:cNvSpPr/>
            <p:nvPr/>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p>
          </p:txBody>
        </p:sp>
        <p:sp>
          <p:nvSpPr>
            <p:cNvPr id="136" name="îS1iḑê"/>
            <p:cNvSpPr/>
            <p:nvPr/>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p>
          </p:txBody>
        </p:sp>
        <p:sp>
          <p:nvSpPr>
            <p:cNvPr id="137" name="î$ḻïḑe"/>
            <p:cNvSpPr/>
            <p:nvPr/>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p>
          </p:txBody>
        </p:sp>
        <p:sp>
          <p:nvSpPr>
            <p:cNvPr id="138" name="íṩlîdê"/>
            <p:cNvSpPr/>
            <p:nvPr/>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p>
          </p:txBody>
        </p:sp>
        <p:sp>
          <p:nvSpPr>
            <p:cNvPr id="139" name="ïş1îdè"/>
            <p:cNvSpPr/>
            <p:nvPr/>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p>
          </p:txBody>
        </p:sp>
        <p:sp>
          <p:nvSpPr>
            <p:cNvPr id="140" name="išḻîḋè"/>
            <p:cNvSpPr/>
            <p:nvPr/>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141" name="ïŝľídè"/>
            <p:cNvSpPr/>
            <p:nvPr/>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p>
          </p:txBody>
        </p:sp>
        <p:sp>
          <p:nvSpPr>
            <p:cNvPr id="142" name="ïṥľiḓê"/>
            <p:cNvSpPr/>
            <p:nvPr/>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p>
          </p:txBody>
        </p:sp>
        <p:sp>
          <p:nvSpPr>
            <p:cNvPr id="143" name="íşlîḋé"/>
            <p:cNvSpPr/>
            <p:nvPr/>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p>
          </p:txBody>
        </p:sp>
        <p:sp>
          <p:nvSpPr>
            <p:cNvPr id="144" name="iṣľíďe"/>
            <p:cNvSpPr/>
            <p:nvPr/>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p>
          </p:txBody>
        </p:sp>
        <p:sp>
          <p:nvSpPr>
            <p:cNvPr id="145" name="íSḻîdé"/>
            <p:cNvSpPr/>
            <p:nvPr/>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p>
          </p:txBody>
        </p:sp>
        <p:sp>
          <p:nvSpPr>
            <p:cNvPr id="146" name="ïs1îdê"/>
            <p:cNvSpPr/>
            <p:nvPr/>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p>
          </p:txBody>
        </p:sp>
        <p:sp>
          <p:nvSpPr>
            <p:cNvPr id="147" name="îsľïḑé"/>
            <p:cNvSpPr/>
            <p:nvPr/>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p>
          </p:txBody>
        </p:sp>
        <p:sp>
          <p:nvSpPr>
            <p:cNvPr id="148" name="íšlíde"/>
            <p:cNvSpPr/>
            <p:nvPr/>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p>
          </p:txBody>
        </p:sp>
        <p:sp>
          <p:nvSpPr>
            <p:cNvPr id="149" name="iṡļiḍé"/>
            <p:cNvSpPr/>
            <p:nvPr/>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p>
          </p:txBody>
        </p:sp>
        <p:sp>
          <p:nvSpPr>
            <p:cNvPr id="150" name="ïṩḻíďê"/>
            <p:cNvSpPr/>
            <p:nvPr/>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p>
          </p:txBody>
        </p:sp>
        <p:sp>
          <p:nvSpPr>
            <p:cNvPr id="151" name="îśľïdé"/>
            <p:cNvSpPr/>
            <p:nvPr/>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p>
          </p:txBody>
        </p:sp>
        <p:sp>
          <p:nvSpPr>
            <p:cNvPr id="152" name="ïṧḻíde"/>
            <p:cNvSpPr/>
            <p:nvPr/>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p>
          </p:txBody>
        </p:sp>
        <p:sp>
          <p:nvSpPr>
            <p:cNvPr id="153" name="íṡḻïdê"/>
            <p:cNvSpPr/>
            <p:nvPr/>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p>
          </p:txBody>
        </p:sp>
        <p:sp>
          <p:nvSpPr>
            <p:cNvPr id="154" name="i$ḻïḍé"/>
            <p:cNvSpPr/>
            <p:nvPr/>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p>
          </p:txBody>
        </p:sp>
        <p:sp>
          <p:nvSpPr>
            <p:cNvPr id="155" name="iŝḷíḑé"/>
            <p:cNvSpPr/>
            <p:nvPr/>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p>
          </p:txBody>
        </p:sp>
        <p:sp>
          <p:nvSpPr>
            <p:cNvPr id="156" name="iṩlíḋè"/>
            <p:cNvSpPr/>
            <p:nvPr/>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p>
          </p:txBody>
        </p:sp>
        <p:sp>
          <p:nvSpPr>
            <p:cNvPr id="157" name="iṩḷîḑè"/>
            <p:cNvSpPr/>
            <p:nvPr/>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p>
          </p:txBody>
        </p:sp>
        <p:sp>
          <p:nvSpPr>
            <p:cNvPr id="158" name="išľíďê"/>
            <p:cNvSpPr/>
            <p:nvPr/>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p>
          </p:txBody>
        </p:sp>
        <p:sp>
          <p:nvSpPr>
            <p:cNvPr id="159" name="î$ľïḋé"/>
            <p:cNvSpPr/>
            <p:nvPr/>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p>
          </p:txBody>
        </p:sp>
        <p:sp>
          <p:nvSpPr>
            <p:cNvPr id="160" name="iŝḻïḓè"/>
            <p:cNvSpPr/>
            <p:nvPr/>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p>
          </p:txBody>
        </p:sp>
        <p:sp>
          <p:nvSpPr>
            <p:cNvPr id="161" name="ïś1íḋé"/>
            <p:cNvSpPr/>
            <p:nvPr/>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p>
          </p:txBody>
        </p:sp>
        <p:sp>
          <p:nvSpPr>
            <p:cNvPr id="162" name="ïš1îḓé"/>
            <p:cNvSpPr/>
            <p:nvPr/>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p>
          </p:txBody>
        </p:sp>
        <p:sp>
          <p:nvSpPr>
            <p:cNvPr id="163" name="iṡļîḓé"/>
            <p:cNvSpPr/>
            <p:nvPr/>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p>
          </p:txBody>
        </p:sp>
        <p:sp>
          <p:nvSpPr>
            <p:cNvPr id="164" name="iŝḷïďè"/>
            <p:cNvSpPr/>
            <p:nvPr/>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p>
          </p:txBody>
        </p:sp>
        <p:sp>
          <p:nvSpPr>
            <p:cNvPr id="165" name="islîḋé"/>
            <p:cNvSpPr/>
            <p:nvPr/>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p>
          </p:txBody>
        </p:sp>
        <p:sp>
          <p:nvSpPr>
            <p:cNvPr id="166" name="í$ḷíḓe"/>
            <p:cNvSpPr/>
            <p:nvPr/>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p>
          </p:txBody>
        </p:sp>
        <p:sp>
          <p:nvSpPr>
            <p:cNvPr id="167" name="iŝļïḑe"/>
            <p:cNvSpPr/>
            <p:nvPr/>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p>
          </p:txBody>
        </p:sp>
        <p:sp>
          <p:nvSpPr>
            <p:cNvPr id="168" name="ïšľïḓê"/>
            <p:cNvSpPr/>
            <p:nvPr/>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p>
          </p:txBody>
        </p:sp>
        <p:sp>
          <p:nvSpPr>
            <p:cNvPr id="169" name="iṣ1íḑe"/>
            <p:cNvSpPr/>
            <p:nvPr/>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p>
          </p:txBody>
        </p:sp>
        <p:sp>
          <p:nvSpPr>
            <p:cNvPr id="170" name="îSľîḋe"/>
            <p:cNvSpPr/>
            <p:nvPr/>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p>
          </p:txBody>
        </p:sp>
        <p:sp>
          <p:nvSpPr>
            <p:cNvPr id="171" name="í$ļîḋé"/>
            <p:cNvSpPr/>
            <p:nvPr/>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p>
          </p:txBody>
        </p:sp>
        <p:sp>
          <p:nvSpPr>
            <p:cNvPr id="172" name="ïšļíḋê"/>
            <p:cNvSpPr/>
            <p:nvPr/>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p>
          </p:txBody>
        </p:sp>
        <p:sp>
          <p:nvSpPr>
            <p:cNvPr id="173" name="ïṡ1îďe"/>
            <p:cNvSpPr/>
            <p:nvPr/>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p>
          </p:txBody>
        </p:sp>
        <p:sp>
          <p:nvSpPr>
            <p:cNvPr id="174" name="iśľíḑé"/>
            <p:cNvSpPr/>
            <p:nvPr/>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p>
          </p:txBody>
        </p:sp>
        <p:sp>
          <p:nvSpPr>
            <p:cNvPr id="175" name="îsļîḑê"/>
            <p:cNvSpPr/>
            <p:nvPr/>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p>
          </p:txBody>
        </p:sp>
        <p:sp>
          <p:nvSpPr>
            <p:cNvPr id="176" name="ïṩľîḍè"/>
            <p:cNvSpPr/>
            <p:nvPr/>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p>
          </p:txBody>
        </p:sp>
        <p:sp>
          <p:nvSpPr>
            <p:cNvPr id="177" name="îṡļïdê"/>
            <p:cNvSpPr/>
            <p:nvPr/>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p>
          </p:txBody>
        </p:sp>
        <p:sp>
          <p:nvSpPr>
            <p:cNvPr id="178" name="íṥliḍe"/>
            <p:cNvSpPr/>
            <p:nvPr/>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p>
          </p:txBody>
        </p:sp>
        <p:sp>
          <p:nvSpPr>
            <p:cNvPr id="179" name="ïS1íḓê"/>
            <p:cNvSpPr/>
            <p:nvPr/>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p>
          </p:txBody>
        </p:sp>
        <p:sp>
          <p:nvSpPr>
            <p:cNvPr id="180" name="îSļïde"/>
            <p:cNvSpPr/>
            <p:nvPr/>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p>
          </p:txBody>
        </p:sp>
        <p:sp>
          <p:nvSpPr>
            <p:cNvPr id="181" name="ïslïḑê"/>
            <p:cNvSpPr/>
            <p:nvPr/>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p>
          </p:txBody>
        </p:sp>
        <p:sp>
          <p:nvSpPr>
            <p:cNvPr id="182" name="íśḻïdé"/>
            <p:cNvSpPr/>
            <p:nvPr/>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p>
          </p:txBody>
        </p:sp>
        <p:sp>
          <p:nvSpPr>
            <p:cNvPr id="183" name="íslîde"/>
            <p:cNvSpPr/>
            <p:nvPr/>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p>
          </p:txBody>
        </p:sp>
        <p:sp>
          <p:nvSpPr>
            <p:cNvPr id="184" name="íṩḷíḓé"/>
            <p:cNvSpPr/>
            <p:nvPr/>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p>
          </p:txBody>
        </p:sp>
        <p:sp>
          <p:nvSpPr>
            <p:cNvPr id="185" name="îṩḷíďè"/>
            <p:cNvSpPr/>
            <p:nvPr/>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p>
          </p:txBody>
        </p:sp>
        <p:sp>
          <p:nvSpPr>
            <p:cNvPr id="186" name="îŝľídê"/>
            <p:cNvSpPr/>
            <p:nvPr/>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p>
          </p:txBody>
        </p:sp>
        <p:sp>
          <p:nvSpPr>
            <p:cNvPr id="187" name="îṩḻíḑe"/>
            <p:cNvSpPr/>
            <p:nvPr/>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p>
          </p:txBody>
        </p:sp>
        <p:sp>
          <p:nvSpPr>
            <p:cNvPr id="188" name="ísḻîďé"/>
            <p:cNvSpPr/>
            <p:nvPr/>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p>
          </p:txBody>
        </p:sp>
        <p:sp>
          <p:nvSpPr>
            <p:cNvPr id="189" name="îS1îḍé"/>
            <p:cNvSpPr/>
            <p:nvPr/>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p>
          </p:txBody>
        </p:sp>
        <p:sp>
          <p:nvSpPr>
            <p:cNvPr id="190" name="íṥľîḋe"/>
            <p:cNvSpPr/>
            <p:nvPr/>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p>
          </p:txBody>
        </p:sp>
        <p:sp>
          <p:nvSpPr>
            <p:cNvPr id="191" name="iSlîdè"/>
            <p:cNvSpPr/>
            <p:nvPr/>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p>
          </p:txBody>
        </p:sp>
        <p:sp>
          <p:nvSpPr>
            <p:cNvPr id="192" name="iS1íďé"/>
            <p:cNvSpPr/>
            <p:nvPr/>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p>
          </p:txBody>
        </p:sp>
        <p:sp>
          <p:nvSpPr>
            <p:cNvPr id="193" name="iSḻîdé"/>
            <p:cNvSpPr/>
            <p:nvPr/>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p>
          </p:txBody>
        </p:sp>
        <p:sp>
          <p:nvSpPr>
            <p:cNvPr id="194" name="îşļiḓê"/>
            <p:cNvSpPr/>
            <p:nvPr/>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p>
          </p:txBody>
        </p:sp>
        <p:sp>
          <p:nvSpPr>
            <p:cNvPr id="195" name="ísľïďé"/>
            <p:cNvSpPr/>
            <p:nvPr/>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p>
          </p:txBody>
        </p:sp>
        <p:sp>
          <p:nvSpPr>
            <p:cNvPr id="196" name="íSlïḍé"/>
            <p:cNvSpPr/>
            <p:nvPr/>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p>
          </p:txBody>
        </p:sp>
        <p:sp>
          <p:nvSpPr>
            <p:cNvPr id="197" name="ïŝ1îḑê"/>
            <p:cNvSpPr/>
            <p:nvPr/>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p>
          </p:txBody>
        </p:sp>
        <p:sp>
          <p:nvSpPr>
            <p:cNvPr id="198" name="íṡ1íḑè"/>
            <p:cNvSpPr/>
            <p:nvPr/>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p>
          </p:txBody>
        </p:sp>
        <p:sp>
          <p:nvSpPr>
            <p:cNvPr id="199" name="îšľïďè"/>
            <p:cNvSpPr/>
            <p:nvPr/>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p>
          </p:txBody>
        </p:sp>
        <p:sp>
          <p:nvSpPr>
            <p:cNvPr id="200" name="íšlíḋe"/>
            <p:cNvSpPr/>
            <p:nvPr/>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p>
          </p:txBody>
        </p:sp>
        <p:sp>
          <p:nvSpPr>
            <p:cNvPr id="201" name="ïś1îďê"/>
            <p:cNvSpPr/>
            <p:nvPr/>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p>
          </p:txBody>
        </p:sp>
        <p:sp>
          <p:nvSpPr>
            <p:cNvPr id="202" name="í$ļíḓè"/>
            <p:cNvSpPr/>
            <p:nvPr/>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p>
          </p:txBody>
        </p:sp>
        <p:sp>
          <p:nvSpPr>
            <p:cNvPr id="203" name="îSľïḓè"/>
            <p:cNvSpPr/>
            <p:nvPr/>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p>
          </p:txBody>
        </p:sp>
        <p:sp>
          <p:nvSpPr>
            <p:cNvPr id="204" name="ïšļïḋe"/>
            <p:cNvSpPr/>
            <p:nvPr/>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p>
          </p:txBody>
        </p:sp>
        <p:sp>
          <p:nvSpPr>
            <p:cNvPr id="205" name="iṥ1ïḍé"/>
            <p:cNvSpPr/>
            <p:nvPr/>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p>
          </p:txBody>
        </p:sp>
        <p:sp>
          <p:nvSpPr>
            <p:cNvPr id="206" name="íṩļiḑe"/>
            <p:cNvSpPr/>
            <p:nvPr/>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207" name="îšľidè"/>
            <p:cNvSpPr/>
            <p:nvPr/>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208" name="î$1ïḍê"/>
            <p:cNvSpPr/>
            <p:nvPr/>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p>
          </p:txBody>
        </p:sp>
        <p:sp>
          <p:nvSpPr>
            <p:cNvPr id="209" name="ïṣ1ïḍè"/>
            <p:cNvSpPr/>
            <p:nvPr/>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p>
          </p:txBody>
        </p:sp>
        <p:sp>
          <p:nvSpPr>
            <p:cNvPr id="210" name="íS1ïḍè"/>
            <p:cNvSpPr/>
            <p:nvPr/>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p>
          </p:txBody>
        </p:sp>
        <p:sp>
          <p:nvSpPr>
            <p:cNvPr id="211" name="ïṡḷidè"/>
            <p:cNvSpPr/>
            <p:nvPr/>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p>
          </p:txBody>
        </p:sp>
        <p:sp>
          <p:nvSpPr>
            <p:cNvPr id="212" name="ïṥľidê"/>
            <p:cNvSpPr/>
            <p:nvPr/>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p>
          </p:txBody>
        </p:sp>
        <p:sp>
          <p:nvSpPr>
            <p:cNvPr id="213" name="ïšḷiḋe"/>
            <p:cNvSpPr/>
            <p:nvPr/>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p>
          </p:txBody>
        </p:sp>
        <p:sp>
          <p:nvSpPr>
            <p:cNvPr id="214" name="i$1idé"/>
            <p:cNvSpPr/>
            <p:nvPr/>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p>
          </p:txBody>
        </p:sp>
        <p:sp>
          <p:nvSpPr>
            <p:cNvPr id="215" name="íṡ1iḑé"/>
            <p:cNvSpPr/>
            <p:nvPr/>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p>
          </p:txBody>
        </p:sp>
        <p:sp>
          <p:nvSpPr>
            <p:cNvPr id="216" name="iŝľiḋê"/>
            <p:cNvSpPr/>
            <p:nvPr/>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p>
          </p:txBody>
        </p:sp>
        <p:sp>
          <p:nvSpPr>
            <p:cNvPr id="217" name="îṣ1îdê"/>
            <p:cNvSpPr/>
            <p:nvPr/>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p>
          </p:txBody>
        </p:sp>
        <p:sp>
          <p:nvSpPr>
            <p:cNvPr id="218" name="íṥļíďé"/>
            <p:cNvSpPr/>
            <p:nvPr/>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219" name="îśḷïďè"/>
            <p:cNvSpPr/>
            <p:nvPr/>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220" name="íṣliḓé"/>
            <p:cNvSpPr/>
            <p:nvPr/>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p>
          </p:txBody>
        </p:sp>
        <p:sp>
          <p:nvSpPr>
            <p:cNvPr id="221" name="íŝḻïdè"/>
            <p:cNvSpPr/>
            <p:nvPr/>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p>
          </p:txBody>
        </p:sp>
        <p:sp>
          <p:nvSpPr>
            <p:cNvPr id="222" name="íṧļïḑé"/>
            <p:cNvSpPr/>
            <p:nvPr/>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p>
          </p:txBody>
        </p:sp>
        <p:sp>
          <p:nvSpPr>
            <p:cNvPr id="223" name="ïṡ1iḓé"/>
            <p:cNvSpPr/>
            <p:nvPr/>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p>
          </p:txBody>
        </p:sp>
        <p:sp>
          <p:nvSpPr>
            <p:cNvPr id="224" name="isľîḑe"/>
            <p:cNvSpPr/>
            <p:nvPr/>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p>
          </p:txBody>
        </p:sp>
        <p:sp>
          <p:nvSpPr>
            <p:cNvPr id="225" name="ï$ḻiḓé"/>
            <p:cNvSpPr/>
            <p:nvPr/>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p>
          </p:txBody>
        </p:sp>
        <p:sp>
          <p:nvSpPr>
            <p:cNvPr id="226" name="îṩḻíḍè"/>
            <p:cNvSpPr/>
            <p:nvPr/>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p>
          </p:txBody>
        </p:sp>
        <p:sp>
          <p:nvSpPr>
            <p:cNvPr id="227" name="ïṣľiďe"/>
            <p:cNvSpPr/>
            <p:nvPr/>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p>
          </p:txBody>
        </p:sp>
        <p:sp>
          <p:nvSpPr>
            <p:cNvPr id="228" name="ïŝļidé"/>
            <p:cNvSpPr/>
            <p:nvPr/>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p>
          </p:txBody>
        </p:sp>
        <p:sp>
          <p:nvSpPr>
            <p:cNvPr id="229" name="iSḻîďé"/>
            <p:cNvSpPr/>
            <p:nvPr/>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p>
          </p:txBody>
        </p:sp>
        <p:sp>
          <p:nvSpPr>
            <p:cNvPr id="230" name="iṧlîďê"/>
            <p:cNvSpPr/>
            <p:nvPr/>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p>
          </p:txBody>
        </p:sp>
        <p:sp>
          <p:nvSpPr>
            <p:cNvPr id="231" name="îś1iḍe"/>
            <p:cNvSpPr/>
            <p:nvPr/>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p>
          </p:txBody>
        </p:sp>
        <p:sp>
          <p:nvSpPr>
            <p:cNvPr id="232" name="îṩḻïḋe"/>
            <p:cNvSpPr/>
            <p:nvPr/>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p>
          </p:txBody>
        </p:sp>
        <p:sp>
          <p:nvSpPr>
            <p:cNvPr id="233" name="işlíḑê"/>
            <p:cNvSpPr/>
            <p:nvPr/>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p>
          </p:txBody>
        </p:sp>
        <p:sp>
          <p:nvSpPr>
            <p:cNvPr id="234" name="îṧ1íďé"/>
            <p:cNvSpPr/>
            <p:nvPr/>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p>
          </p:txBody>
        </p:sp>
        <p:sp>
          <p:nvSpPr>
            <p:cNvPr id="235" name="îşļíḋé"/>
            <p:cNvSpPr/>
            <p:nvPr/>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p>
          </p:txBody>
        </p:sp>
        <p:sp>
          <p:nvSpPr>
            <p:cNvPr id="236" name="i$ļîḓé"/>
            <p:cNvSpPr/>
            <p:nvPr/>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237" name="işlíḋé"/>
            <p:cNvSpPr/>
            <p:nvPr/>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p>
          </p:txBody>
        </p:sp>
        <p:sp>
          <p:nvSpPr>
            <p:cNvPr id="238" name="îṩḷîḍê"/>
            <p:cNvSpPr/>
            <p:nvPr/>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p>
          </p:txBody>
        </p:sp>
        <p:sp>
          <p:nvSpPr>
            <p:cNvPr id="239" name="íşlíde"/>
            <p:cNvSpPr/>
            <p:nvPr/>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p>
          </p:txBody>
        </p:sp>
        <p:sp>
          <p:nvSpPr>
            <p:cNvPr id="240" name="ï$ľíḋè"/>
            <p:cNvSpPr/>
            <p:nvPr/>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p>
          </p:txBody>
        </p:sp>
        <p:sp>
          <p:nvSpPr>
            <p:cNvPr id="241" name="îṡlíḑe"/>
            <p:cNvSpPr/>
            <p:nvPr/>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p>
          </p:txBody>
        </p:sp>
        <p:sp>
          <p:nvSpPr>
            <p:cNvPr id="242" name="îṥlîdé"/>
            <p:cNvSpPr/>
            <p:nvPr/>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p>
          </p:txBody>
        </p:sp>
        <p:sp>
          <p:nvSpPr>
            <p:cNvPr id="243" name="î$ļíḓè"/>
            <p:cNvSpPr/>
            <p:nvPr/>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p>
          </p:txBody>
        </p:sp>
        <p:sp>
          <p:nvSpPr>
            <p:cNvPr id="244" name="ïşľîde"/>
            <p:cNvSpPr/>
            <p:nvPr/>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p>
          </p:txBody>
        </p:sp>
        <p:sp>
          <p:nvSpPr>
            <p:cNvPr id="245" name="íŝ1íḓè"/>
            <p:cNvSpPr/>
            <p:nvPr/>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p>
          </p:txBody>
        </p:sp>
        <p:sp>
          <p:nvSpPr>
            <p:cNvPr id="246" name="išļïḓê"/>
            <p:cNvSpPr/>
            <p:nvPr/>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p>
          </p:txBody>
        </p:sp>
        <p:sp>
          <p:nvSpPr>
            <p:cNvPr id="247" name="ísḷîḋê"/>
            <p:cNvSpPr/>
            <p:nvPr/>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p>
          </p:txBody>
        </p:sp>
        <p:sp>
          <p:nvSpPr>
            <p:cNvPr id="248" name="îŝḻîḓê"/>
            <p:cNvSpPr/>
            <p:nvPr/>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p>
          </p:txBody>
        </p:sp>
        <p:sp>
          <p:nvSpPr>
            <p:cNvPr id="249" name="îśļïḋè"/>
            <p:cNvSpPr/>
            <p:nvPr/>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p>
          </p:txBody>
        </p:sp>
        <p:sp>
          <p:nvSpPr>
            <p:cNvPr id="250" name="i$ľidê"/>
            <p:cNvSpPr/>
            <p:nvPr/>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p>
          </p:txBody>
        </p:sp>
        <p:sp>
          <p:nvSpPr>
            <p:cNvPr id="251" name="iSḷïḍe"/>
            <p:cNvSpPr/>
            <p:nvPr/>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p>
          </p:txBody>
        </p:sp>
        <p:sp>
          <p:nvSpPr>
            <p:cNvPr id="252" name="iṧļîdé"/>
            <p:cNvSpPr/>
            <p:nvPr/>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p>
          </p:txBody>
        </p:sp>
        <p:sp>
          <p:nvSpPr>
            <p:cNvPr id="253" name="îśḷíďè"/>
            <p:cNvSpPr/>
            <p:nvPr/>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254" name="íŝḻiďé"/>
            <p:cNvSpPr/>
            <p:nvPr/>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255" name="ïṡļiḓè"/>
            <p:cNvSpPr/>
            <p:nvPr/>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p>
          </p:txBody>
        </p:sp>
        <p:sp>
          <p:nvSpPr>
            <p:cNvPr id="256" name="îṡ1ïḑe"/>
            <p:cNvSpPr/>
            <p:nvPr/>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p>
          </p:txBody>
        </p:sp>
        <p:sp>
          <p:nvSpPr>
            <p:cNvPr id="257" name="íšlîḑe"/>
            <p:cNvSpPr/>
            <p:nvPr/>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p>
          </p:txBody>
        </p:sp>
        <p:sp>
          <p:nvSpPr>
            <p:cNvPr id="258" name="íSlïde"/>
            <p:cNvSpPr/>
            <p:nvPr/>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p>
          </p:txBody>
        </p:sp>
        <p:sp>
          <p:nvSpPr>
            <p:cNvPr id="259" name="îṥlïḑè"/>
            <p:cNvSpPr/>
            <p:nvPr/>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p>
          </p:txBody>
        </p:sp>
        <p:sp>
          <p:nvSpPr>
            <p:cNvPr id="260" name="ïšliďe"/>
            <p:cNvSpPr/>
            <p:nvPr/>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p>
          </p:txBody>
        </p:sp>
        <p:sp>
          <p:nvSpPr>
            <p:cNvPr id="261" name="îṧḻidê"/>
            <p:cNvSpPr/>
            <p:nvPr/>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p>
          </p:txBody>
        </p:sp>
        <p:sp>
          <p:nvSpPr>
            <p:cNvPr id="262" name="íšļîḋe"/>
            <p:cNvSpPr/>
            <p:nvPr/>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p>
          </p:txBody>
        </p:sp>
        <p:sp>
          <p:nvSpPr>
            <p:cNvPr id="263" name="iṧ1ïḓê"/>
            <p:cNvSpPr/>
            <p:nvPr/>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p>
          </p:txBody>
        </p:sp>
        <p:sp>
          <p:nvSpPr>
            <p:cNvPr id="264" name="íşlîḑe"/>
            <p:cNvSpPr/>
            <p:nvPr/>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65" name="iṥḷîďé"/>
            <p:cNvSpPr/>
            <p:nvPr/>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66" name="ïsḻiďê"/>
            <p:cNvSpPr/>
            <p:nvPr/>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67" name="iś1íḑe"/>
            <p:cNvSpPr/>
            <p:nvPr/>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68" name="ísľíďê"/>
            <p:cNvSpPr/>
            <p:nvPr/>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p>
          </p:txBody>
        </p:sp>
        <p:sp>
          <p:nvSpPr>
            <p:cNvPr id="269" name="iS1íďê"/>
            <p:cNvSpPr/>
            <p:nvPr/>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p>
          </p:txBody>
        </p:sp>
        <p:sp>
          <p:nvSpPr>
            <p:cNvPr id="270" name="ïslîďè"/>
            <p:cNvSpPr/>
            <p:nvPr/>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p>
          </p:txBody>
        </p:sp>
        <p:sp>
          <p:nvSpPr>
            <p:cNvPr id="271" name="iŝ1ïḑe"/>
            <p:cNvSpPr/>
            <p:nvPr/>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p>
          </p:txBody>
        </p:sp>
        <p:sp>
          <p:nvSpPr>
            <p:cNvPr id="272" name="işḷíďè"/>
            <p:cNvSpPr/>
            <p:nvPr/>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p>
          </p:txBody>
        </p:sp>
        <p:sp>
          <p:nvSpPr>
            <p:cNvPr id="273" name="ïşľïḋè"/>
            <p:cNvSpPr/>
            <p:nvPr/>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p>
          </p:txBody>
        </p:sp>
        <p:sp>
          <p:nvSpPr>
            <p:cNvPr id="274" name="ïšḷïḑê"/>
            <p:cNvSpPr/>
            <p:nvPr/>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p>
          </p:txBody>
        </p:sp>
        <p:sp>
          <p:nvSpPr>
            <p:cNvPr id="275" name="îṣlïḍê"/>
            <p:cNvSpPr/>
            <p:nvPr/>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p>
          </p:txBody>
        </p:sp>
        <p:sp>
          <p:nvSpPr>
            <p:cNvPr id="276" name="îśľîḋê"/>
            <p:cNvSpPr/>
            <p:nvPr/>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277" name="iṩļíḋê"/>
            <p:cNvSpPr/>
            <p:nvPr/>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p>
          </p:txBody>
        </p:sp>
        <p:sp>
          <p:nvSpPr>
            <p:cNvPr id="278" name="iṧ1îḑê"/>
            <p:cNvSpPr/>
            <p:nvPr/>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p>
          </p:txBody>
        </p:sp>
        <p:sp>
          <p:nvSpPr>
            <p:cNvPr id="279" name="íšḻîďe"/>
            <p:cNvSpPr/>
            <p:nvPr/>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280" name="ï$liḋê"/>
            <p:cNvSpPr/>
            <p:nvPr/>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p>
          </p:txBody>
        </p:sp>
        <p:sp>
          <p:nvSpPr>
            <p:cNvPr id="281" name="ïsļïḓé"/>
            <p:cNvSpPr/>
            <p:nvPr/>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p>
          </p:txBody>
        </p:sp>
        <p:sp>
          <p:nvSpPr>
            <p:cNvPr id="282" name="iśļîḓê"/>
            <p:cNvSpPr/>
            <p:nvPr/>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p>
          </p:txBody>
        </p:sp>
        <p:sp>
          <p:nvSpPr>
            <p:cNvPr id="283" name="ïṥļîďé"/>
            <p:cNvSpPr/>
            <p:nvPr/>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p>
          </p:txBody>
        </p:sp>
        <p:sp>
          <p:nvSpPr>
            <p:cNvPr id="284" name="îş1íḑé"/>
            <p:cNvSpPr/>
            <p:nvPr/>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p>
          </p:txBody>
        </p:sp>
        <p:sp>
          <p:nvSpPr>
            <p:cNvPr id="285" name="ïšľíḓe"/>
            <p:cNvSpPr/>
            <p:nvPr/>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p>
          </p:txBody>
        </p:sp>
        <p:sp>
          <p:nvSpPr>
            <p:cNvPr id="286" name="îS1îḍe"/>
            <p:cNvSpPr/>
            <p:nvPr/>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p>
          </p:txBody>
        </p:sp>
        <p:sp>
          <p:nvSpPr>
            <p:cNvPr id="287" name="íS1íḑè"/>
            <p:cNvSpPr/>
            <p:nvPr/>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88" name="íṧ1iḓè"/>
            <p:cNvSpPr/>
            <p:nvPr/>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89" name="íSlíḍè"/>
            <p:cNvSpPr/>
            <p:nvPr/>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p>
          </p:txBody>
        </p:sp>
        <p:sp>
          <p:nvSpPr>
            <p:cNvPr id="290" name="ïṥļidê"/>
            <p:cNvSpPr/>
            <p:nvPr/>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p>
          </p:txBody>
        </p:sp>
        <p:sp>
          <p:nvSpPr>
            <p:cNvPr id="291" name="iŝľîdé"/>
            <p:cNvSpPr/>
            <p:nvPr/>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p>
          </p:txBody>
        </p:sp>
        <p:sp>
          <p:nvSpPr>
            <p:cNvPr id="292" name="îś1îḋê"/>
            <p:cNvSpPr/>
            <p:nvPr/>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p>
          </p:txBody>
        </p:sp>
        <p:sp>
          <p:nvSpPr>
            <p:cNvPr id="293" name="îślîdé"/>
            <p:cNvSpPr/>
            <p:nvPr/>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p>
          </p:txBody>
        </p:sp>
        <p:sp>
          <p:nvSpPr>
            <p:cNvPr id="294" name="íṧ1iďé"/>
            <p:cNvSpPr/>
            <p:nvPr/>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p>
          </p:txBody>
        </p:sp>
        <p:sp>
          <p:nvSpPr>
            <p:cNvPr id="295" name="ïsļïḓê"/>
            <p:cNvSpPr/>
            <p:nvPr/>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p>
          </p:txBody>
        </p:sp>
        <p:sp>
          <p:nvSpPr>
            <p:cNvPr id="296" name="îṡḻiḋê"/>
            <p:cNvSpPr/>
            <p:nvPr/>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p>
          </p:txBody>
        </p:sp>
        <p:sp>
          <p:nvSpPr>
            <p:cNvPr id="297" name="ïṧḷíḑé"/>
            <p:cNvSpPr/>
            <p:nvPr/>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p>
          </p:txBody>
        </p:sp>
        <p:sp>
          <p:nvSpPr>
            <p:cNvPr id="298" name="išḷíḓe"/>
            <p:cNvSpPr/>
            <p:nvPr/>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p>
          </p:txBody>
        </p:sp>
        <p:sp>
          <p:nvSpPr>
            <p:cNvPr id="299" name="iśľïḑe"/>
            <p:cNvSpPr/>
            <p:nvPr/>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p>
          </p:txBody>
        </p:sp>
        <p:sp>
          <p:nvSpPr>
            <p:cNvPr id="300" name="ïSḷïḑê"/>
            <p:cNvSpPr/>
            <p:nvPr/>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p>
          </p:txBody>
        </p:sp>
        <p:sp>
          <p:nvSpPr>
            <p:cNvPr id="301" name="išļídê"/>
            <p:cNvSpPr/>
            <p:nvPr/>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p>
          </p:txBody>
        </p:sp>
        <p:sp>
          <p:nvSpPr>
            <p:cNvPr id="302" name="ïṥḻíḓè"/>
            <p:cNvSpPr/>
            <p:nvPr/>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p>
          </p:txBody>
        </p:sp>
        <p:sp>
          <p:nvSpPr>
            <p:cNvPr id="303" name="ïslîďe"/>
            <p:cNvSpPr/>
            <p:nvPr/>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p>
          </p:txBody>
        </p:sp>
        <p:sp>
          <p:nvSpPr>
            <p:cNvPr id="304" name="iṩlíḓè"/>
            <p:cNvSpPr/>
            <p:nvPr/>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p>
          </p:txBody>
        </p:sp>
        <p:sp>
          <p:nvSpPr>
            <p:cNvPr id="305" name="íṣḻîḋe"/>
            <p:cNvSpPr/>
            <p:nvPr/>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p>
          </p:txBody>
        </p:sp>
        <p:sp>
          <p:nvSpPr>
            <p:cNvPr id="306" name="ís1îḋé"/>
            <p:cNvSpPr/>
            <p:nvPr/>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p>
          </p:txBody>
        </p:sp>
        <p:sp>
          <p:nvSpPr>
            <p:cNvPr id="307" name="ïšḷïḑe"/>
            <p:cNvSpPr/>
            <p:nvPr/>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p>
          </p:txBody>
        </p:sp>
        <p:sp>
          <p:nvSpPr>
            <p:cNvPr id="308" name="iŝľiďè"/>
            <p:cNvSpPr/>
            <p:nvPr/>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p>
          </p:txBody>
        </p:sp>
        <p:sp>
          <p:nvSpPr>
            <p:cNvPr id="309" name="ïś1îḓe"/>
            <p:cNvSpPr/>
            <p:nvPr/>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p>
          </p:txBody>
        </p:sp>
        <p:sp>
          <p:nvSpPr>
            <p:cNvPr id="310" name="îṣliďè"/>
            <p:cNvSpPr/>
            <p:nvPr/>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p>
          </p:txBody>
        </p:sp>
        <p:sp>
          <p:nvSpPr>
            <p:cNvPr id="311" name="i$ľîdé"/>
            <p:cNvSpPr/>
            <p:nvPr/>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p>
          </p:txBody>
        </p:sp>
        <p:sp>
          <p:nvSpPr>
            <p:cNvPr id="312" name="iśḻîḑe"/>
            <p:cNvSpPr/>
            <p:nvPr/>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p>
          </p:txBody>
        </p:sp>
        <p:sp>
          <p:nvSpPr>
            <p:cNvPr id="313" name="í$ḻiḋê"/>
            <p:cNvSpPr/>
            <p:nvPr/>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314" name="ï$ḷíḓê"/>
            <p:cNvSpPr/>
            <p:nvPr/>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315" name="iŝľïdé"/>
            <p:cNvSpPr/>
            <p:nvPr/>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316" name="íṧ1íḓè"/>
            <p:cNvSpPr/>
            <p:nvPr/>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p>
          </p:txBody>
        </p:sp>
        <p:sp>
          <p:nvSpPr>
            <p:cNvPr id="317" name="ïṩļïďé"/>
            <p:cNvSpPr/>
            <p:nvPr/>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p>
          </p:txBody>
        </p:sp>
        <p:sp>
          <p:nvSpPr>
            <p:cNvPr id="318" name="íśḷïḋé"/>
            <p:cNvSpPr/>
            <p:nvPr/>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p>
          </p:txBody>
        </p:sp>
        <p:sp>
          <p:nvSpPr>
            <p:cNvPr id="319" name="íṣľiḋé"/>
            <p:cNvSpPr/>
            <p:nvPr/>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320" name="îṣľíḑè"/>
            <p:cNvSpPr/>
            <p:nvPr/>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321" name="íṡlíḋê"/>
            <p:cNvSpPr/>
            <p:nvPr/>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322" name="işļîḋê"/>
            <p:cNvSpPr/>
            <p:nvPr/>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323" name="íslidè"/>
            <p:cNvSpPr/>
            <p:nvPr/>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p>
          </p:txBody>
        </p:sp>
        <p:sp>
          <p:nvSpPr>
            <p:cNvPr id="324" name="i$ľïḑè"/>
            <p:cNvSpPr/>
            <p:nvPr/>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p>
          </p:txBody>
        </p:sp>
        <p:sp>
          <p:nvSpPr>
            <p:cNvPr id="325" name="iśļíḑe"/>
            <p:cNvSpPr/>
            <p:nvPr/>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26" name="ïṡḻiḍé"/>
            <p:cNvSpPr/>
            <p:nvPr/>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27" name="íS1ïďè"/>
            <p:cNvSpPr/>
            <p:nvPr/>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28" name="iṧľîďe"/>
            <p:cNvSpPr/>
            <p:nvPr/>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29" name="íŝļïḋè"/>
            <p:cNvSpPr/>
            <p:nvPr/>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30" name="ïṥḻîḋê"/>
            <p:cNvSpPr/>
            <p:nvPr/>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31" name="íŝlíḑê"/>
            <p:cNvSpPr/>
            <p:nvPr/>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p>
          </p:txBody>
        </p:sp>
        <p:sp>
          <p:nvSpPr>
            <p:cNvPr id="332" name="ïsļîḑê"/>
            <p:cNvSpPr/>
            <p:nvPr/>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p>
          </p:txBody>
        </p:sp>
        <p:sp>
          <p:nvSpPr>
            <p:cNvPr id="333" name="íśliḓé"/>
            <p:cNvSpPr/>
            <p:nvPr/>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p>
          </p:txBody>
        </p:sp>
        <p:sp>
          <p:nvSpPr>
            <p:cNvPr id="334" name="iṣľíďê"/>
            <p:cNvSpPr/>
            <p:nvPr/>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p>
          </p:txBody>
        </p:sp>
        <p:sp>
          <p:nvSpPr>
            <p:cNvPr id="335" name="íş1îḋê"/>
            <p:cNvSpPr/>
            <p:nvPr/>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p>
          </p:txBody>
        </p:sp>
        <p:sp>
          <p:nvSpPr>
            <p:cNvPr id="336" name="ïŝḷiḑe"/>
            <p:cNvSpPr/>
            <p:nvPr/>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p>
          </p:txBody>
        </p:sp>
        <p:sp>
          <p:nvSpPr>
            <p:cNvPr id="337" name="iṥlîḑé"/>
            <p:cNvSpPr/>
            <p:nvPr/>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p>
          </p:txBody>
        </p:sp>
        <p:sp>
          <p:nvSpPr>
            <p:cNvPr id="338" name="íş1îḓê"/>
            <p:cNvSpPr/>
            <p:nvPr/>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p>
          </p:txBody>
        </p:sp>
        <p:sp>
          <p:nvSpPr>
            <p:cNvPr id="339" name="išḷiḑé"/>
            <p:cNvSpPr/>
            <p:nvPr/>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p>
          </p:txBody>
        </p:sp>
        <p:sp>
          <p:nvSpPr>
            <p:cNvPr id="340" name="îşḻídé"/>
            <p:cNvSpPr/>
            <p:nvPr/>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p>
          </p:txBody>
        </p:sp>
        <p:sp>
          <p:nvSpPr>
            <p:cNvPr id="341" name="îṩḻîḓê"/>
            <p:cNvSpPr/>
            <p:nvPr/>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p>
          </p:txBody>
        </p:sp>
        <p:sp>
          <p:nvSpPr>
            <p:cNvPr id="342" name="iSḷidè"/>
            <p:cNvSpPr/>
            <p:nvPr/>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p>
          </p:txBody>
        </p:sp>
        <p:sp>
          <p:nvSpPr>
            <p:cNvPr id="343" name="îṥḻîďê"/>
            <p:cNvSpPr/>
            <p:nvPr/>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p>
          </p:txBody>
        </p:sp>
        <p:sp>
          <p:nvSpPr>
            <p:cNvPr id="344" name="ïṧliḍè"/>
            <p:cNvSpPr/>
            <p:nvPr/>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p>
          </p:txBody>
        </p:sp>
        <p:sp>
          <p:nvSpPr>
            <p:cNvPr id="345" name="iṣ1iḓé"/>
            <p:cNvSpPr/>
            <p:nvPr/>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p>
          </p:txBody>
        </p:sp>
        <p:sp>
          <p:nvSpPr>
            <p:cNvPr id="346" name="íṣļíḓe"/>
            <p:cNvSpPr/>
            <p:nvPr/>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p>
          </p:txBody>
        </p:sp>
        <p:sp>
          <p:nvSpPr>
            <p:cNvPr id="347" name="ïṧlíḍé"/>
            <p:cNvSpPr/>
            <p:nvPr/>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p>
          </p:txBody>
        </p:sp>
        <p:sp>
          <p:nvSpPr>
            <p:cNvPr id="348" name="işḻíḑe"/>
            <p:cNvSpPr/>
            <p:nvPr/>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p>
          </p:txBody>
        </p:sp>
        <p:sp>
          <p:nvSpPr>
            <p:cNvPr id="349" name="îṧ1ïḑe"/>
            <p:cNvSpPr/>
            <p:nvPr/>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p>
          </p:txBody>
        </p:sp>
        <p:sp>
          <p:nvSpPr>
            <p:cNvPr id="350" name="íṣ1îḑe"/>
            <p:cNvSpPr/>
            <p:nvPr/>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p>
          </p:txBody>
        </p:sp>
        <p:sp>
          <p:nvSpPr>
            <p:cNvPr id="351" name="î$liḓè"/>
            <p:cNvSpPr/>
            <p:nvPr/>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p>
          </p:txBody>
        </p:sp>
        <p:sp>
          <p:nvSpPr>
            <p:cNvPr id="352" name="îSḷïďe"/>
            <p:cNvSpPr/>
            <p:nvPr/>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p>
          </p:txBody>
        </p:sp>
        <p:sp>
          <p:nvSpPr>
            <p:cNvPr id="353" name="îṩľíďè"/>
            <p:cNvSpPr/>
            <p:nvPr/>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p>
          </p:txBody>
        </p:sp>
        <p:sp>
          <p:nvSpPr>
            <p:cNvPr id="354" name="íŝ1iḍê"/>
            <p:cNvSpPr/>
            <p:nvPr/>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p>
          </p:txBody>
        </p:sp>
        <p:sp>
          <p:nvSpPr>
            <p:cNvPr id="355" name="îś1íďe"/>
            <p:cNvSpPr/>
            <p:nvPr/>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356" name="isliḑe"/>
            <p:cNvSpPr/>
            <p:nvPr/>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357" name="ís1íḓé"/>
            <p:cNvSpPr/>
            <p:nvPr/>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358" name="íṧḻïḋe"/>
            <p:cNvSpPr/>
            <p:nvPr/>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359" name="îSḷîḋê"/>
            <p:cNvSpPr/>
            <p:nvPr/>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p>
          </p:txBody>
        </p:sp>
        <p:sp>
          <p:nvSpPr>
            <p:cNvPr id="360" name="iṣḷíḑé"/>
            <p:cNvSpPr/>
            <p:nvPr/>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p>
          </p:txBody>
        </p:sp>
        <p:sp>
          <p:nvSpPr>
            <p:cNvPr id="361" name="íṡ1îḓê"/>
            <p:cNvSpPr/>
            <p:nvPr/>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p>
          </p:txBody>
        </p:sp>
        <p:sp>
          <p:nvSpPr>
            <p:cNvPr id="362" name="ïṣḷidê"/>
            <p:cNvSpPr/>
            <p:nvPr/>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p>
          </p:txBody>
        </p:sp>
        <p:sp>
          <p:nvSpPr>
            <p:cNvPr id="363" name="íşḻíḓé"/>
            <p:cNvSpPr/>
            <p:nvPr/>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p>
          </p:txBody>
        </p:sp>
        <p:sp>
          <p:nvSpPr>
            <p:cNvPr id="364" name="iṧ1ïḑê"/>
            <p:cNvSpPr/>
            <p:nvPr/>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p>
          </p:txBody>
        </p:sp>
        <p:sp>
          <p:nvSpPr>
            <p:cNvPr id="365" name="íṥḻíďê"/>
            <p:cNvSpPr/>
            <p:nvPr/>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p>
          </p:txBody>
        </p:sp>
        <p:sp>
          <p:nvSpPr>
            <p:cNvPr id="366" name="íSļîdè"/>
            <p:cNvSpPr/>
            <p:nvPr/>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67" name="îṧ1iďé"/>
            <p:cNvSpPr/>
            <p:nvPr/>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68" name="íṥḻïḋè"/>
            <p:cNvSpPr/>
            <p:nvPr/>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69" name="ïŝḻiḍé"/>
            <p:cNvSpPr/>
            <p:nvPr/>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70" name="îṩḷide"/>
            <p:cNvSpPr/>
            <p:nvPr/>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p>
          </p:txBody>
        </p:sp>
        <p:sp>
          <p:nvSpPr>
            <p:cNvPr id="371" name="ïṥļïḓe"/>
            <p:cNvSpPr/>
            <p:nvPr/>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p>
          </p:txBody>
        </p:sp>
        <p:sp>
          <p:nvSpPr>
            <p:cNvPr id="372" name="iṧḷîḓê"/>
            <p:cNvSpPr/>
            <p:nvPr/>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p>
          </p:txBody>
        </p:sp>
        <p:sp>
          <p:nvSpPr>
            <p:cNvPr id="373" name="íşḻíḑe"/>
            <p:cNvSpPr/>
            <p:nvPr/>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p>
          </p:txBody>
        </p:sp>
        <p:sp>
          <p:nvSpPr>
            <p:cNvPr id="374" name="iṩľîḑè"/>
            <p:cNvSpPr/>
            <p:nvPr/>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375" name="isḷïdé"/>
            <p:cNvSpPr/>
            <p:nvPr/>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376" name="îṥḷïdè"/>
            <p:cNvSpPr/>
            <p:nvPr/>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p>
          </p:txBody>
        </p:sp>
        <p:sp>
          <p:nvSpPr>
            <p:cNvPr id="377" name="iṩḷïḓè"/>
            <p:cNvSpPr/>
            <p:nvPr/>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p>
          </p:txBody>
        </p:sp>
        <p:sp>
          <p:nvSpPr>
            <p:cNvPr id="378" name="îṡḻïḓè"/>
            <p:cNvSpPr/>
            <p:nvPr/>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p>
          </p:txBody>
        </p:sp>
        <p:sp>
          <p:nvSpPr>
            <p:cNvPr id="379" name="ïsḻîdé"/>
            <p:cNvSpPr/>
            <p:nvPr/>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p>
          </p:txBody>
        </p:sp>
        <p:sp>
          <p:nvSpPr>
            <p:cNvPr id="380" name="ïṩḻíḓé"/>
            <p:cNvSpPr/>
            <p:nvPr/>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p>
          </p:txBody>
        </p:sp>
        <p:sp>
          <p:nvSpPr>
            <p:cNvPr id="381" name="íṡļiḓe"/>
            <p:cNvSpPr/>
            <p:nvPr/>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p>
          </p:txBody>
        </p:sp>
        <p:sp>
          <p:nvSpPr>
            <p:cNvPr id="382" name="íṥḻíḋe"/>
            <p:cNvSpPr/>
            <p:nvPr/>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p>
          </p:txBody>
        </p:sp>
        <p:sp>
          <p:nvSpPr>
            <p:cNvPr id="383" name="íSḷïde"/>
            <p:cNvSpPr/>
            <p:nvPr/>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p>
          </p:txBody>
        </p:sp>
        <p:sp>
          <p:nvSpPr>
            <p:cNvPr id="384" name="íSľíďê"/>
            <p:cNvSpPr/>
            <p:nvPr/>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p>
          </p:txBody>
        </p:sp>
        <p:sp>
          <p:nvSpPr>
            <p:cNvPr id="385" name="îsļidé"/>
            <p:cNvSpPr/>
            <p:nvPr/>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p>
          </p:txBody>
        </p:sp>
        <p:sp>
          <p:nvSpPr>
            <p:cNvPr id="386" name="íṣļiḑè"/>
            <p:cNvSpPr/>
            <p:nvPr/>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p>
          </p:txBody>
        </p:sp>
        <p:sp>
          <p:nvSpPr>
            <p:cNvPr id="387" name="ïṡļîḓe"/>
            <p:cNvSpPr/>
            <p:nvPr/>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p>
          </p:txBody>
        </p:sp>
        <p:sp>
          <p:nvSpPr>
            <p:cNvPr id="388" name="îṡḻïḋê"/>
            <p:cNvSpPr/>
            <p:nvPr/>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p>
          </p:txBody>
        </p:sp>
        <p:sp>
          <p:nvSpPr>
            <p:cNvPr id="389" name="ïṧľîdê"/>
            <p:cNvSpPr/>
            <p:nvPr/>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90" name="isľîḍé"/>
            <p:cNvSpPr/>
            <p:nvPr/>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p>
          </p:txBody>
        </p:sp>
        <p:sp>
          <p:nvSpPr>
            <p:cNvPr id="391" name="î$ľidé"/>
            <p:cNvSpPr/>
            <p:nvPr/>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p>
          </p:txBody>
        </p:sp>
        <p:sp>
          <p:nvSpPr>
            <p:cNvPr id="392" name="í$ľíḋé"/>
            <p:cNvSpPr/>
            <p:nvPr/>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p>
          </p:txBody>
        </p:sp>
        <p:sp>
          <p:nvSpPr>
            <p:cNvPr id="393" name="îṣľiḓé"/>
            <p:cNvSpPr/>
            <p:nvPr/>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394" name="iṧḷîḋè"/>
            <p:cNvSpPr/>
            <p:nvPr/>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p>
          </p:txBody>
        </p:sp>
        <p:sp>
          <p:nvSpPr>
            <p:cNvPr id="395" name="íŝļïďè"/>
            <p:cNvSpPr/>
            <p:nvPr/>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p>
          </p:txBody>
        </p:sp>
        <p:sp>
          <p:nvSpPr>
            <p:cNvPr id="396" name="ïSḻïďé"/>
            <p:cNvSpPr/>
            <p:nvPr/>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397" name="ïśľiḑe"/>
            <p:cNvSpPr/>
            <p:nvPr/>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p>
          </p:txBody>
        </p:sp>
        <p:sp>
          <p:nvSpPr>
            <p:cNvPr id="398" name="íṥļîdè"/>
            <p:cNvSpPr/>
            <p:nvPr/>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p>
          </p:txBody>
        </p:sp>
        <p:sp>
          <p:nvSpPr>
            <p:cNvPr id="399" name="íSľïḑé"/>
            <p:cNvSpPr/>
            <p:nvPr/>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p>
          </p:txBody>
        </p:sp>
        <p:sp>
          <p:nvSpPr>
            <p:cNvPr id="400" name="ïs1iďè"/>
            <p:cNvSpPr/>
            <p:nvPr/>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p>
          </p:txBody>
        </p:sp>
        <p:sp>
          <p:nvSpPr>
            <p:cNvPr id="401" name="iṥľïḍe"/>
            <p:cNvSpPr/>
            <p:nvPr/>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p>
          </p:txBody>
        </p:sp>
        <p:sp>
          <p:nvSpPr>
            <p:cNvPr id="402" name="îšļïḍè"/>
            <p:cNvSpPr/>
            <p:nvPr/>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p>
          </p:txBody>
        </p:sp>
        <p:sp>
          <p:nvSpPr>
            <p:cNvPr id="403" name="išlïdé"/>
            <p:cNvSpPr/>
            <p:nvPr/>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p>
          </p:txBody>
        </p:sp>
        <p:sp>
          <p:nvSpPr>
            <p:cNvPr id="404" name="îṥļiḍê"/>
            <p:cNvSpPr/>
            <p:nvPr/>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p>
          </p:txBody>
        </p:sp>
        <p:sp>
          <p:nvSpPr>
            <p:cNvPr id="405" name="iSľíďê"/>
            <p:cNvSpPr/>
            <p:nvPr/>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p>
          </p:txBody>
        </p:sp>
        <p:sp>
          <p:nvSpPr>
            <p:cNvPr id="406" name="îṣlïḋe"/>
            <p:cNvSpPr/>
            <p:nvPr/>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p>
          </p:txBody>
        </p:sp>
        <p:sp>
          <p:nvSpPr>
            <p:cNvPr id="407" name="îṩlíde"/>
            <p:cNvSpPr/>
            <p:nvPr/>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p>
          </p:txBody>
        </p:sp>
        <p:sp>
          <p:nvSpPr>
            <p:cNvPr id="408" name="ïṣļïḓê"/>
            <p:cNvSpPr/>
            <p:nvPr/>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p>
          </p:txBody>
        </p:sp>
        <p:sp>
          <p:nvSpPr>
            <p:cNvPr id="409" name="ís1íḍè"/>
            <p:cNvSpPr/>
            <p:nvPr/>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p>
          </p:txBody>
        </p:sp>
        <p:sp>
          <p:nvSpPr>
            <p:cNvPr id="410" name="îš1îḓè"/>
            <p:cNvSpPr/>
            <p:nvPr/>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p>
          </p:txBody>
        </p:sp>
        <p:sp>
          <p:nvSpPr>
            <p:cNvPr id="411" name="ïśḻïḋê"/>
            <p:cNvSpPr/>
            <p:nvPr/>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p>
          </p:txBody>
        </p:sp>
        <p:sp>
          <p:nvSpPr>
            <p:cNvPr id="412" name="i$ļídé"/>
            <p:cNvSpPr/>
            <p:nvPr/>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p>
          </p:txBody>
        </p:sp>
        <p:sp>
          <p:nvSpPr>
            <p:cNvPr id="413" name="íśľîḍê"/>
            <p:cNvSpPr/>
            <p:nvPr/>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p>
          </p:txBody>
        </p:sp>
        <p:sp>
          <p:nvSpPr>
            <p:cNvPr id="414" name="iśľîdé"/>
            <p:cNvSpPr/>
            <p:nvPr/>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p>
          </p:txBody>
        </p:sp>
        <p:sp>
          <p:nvSpPr>
            <p:cNvPr id="415" name="ïSlïḋè"/>
            <p:cNvSpPr/>
            <p:nvPr/>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p>
          </p:txBody>
        </p:sp>
        <p:sp>
          <p:nvSpPr>
            <p:cNvPr id="416" name="ïsļïḑê"/>
            <p:cNvSpPr/>
            <p:nvPr/>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p>
          </p:txBody>
        </p:sp>
        <p:sp>
          <p:nvSpPr>
            <p:cNvPr id="417" name="iSlïḓé"/>
            <p:cNvSpPr/>
            <p:nvPr/>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p>
          </p:txBody>
        </p:sp>
        <p:sp>
          <p:nvSpPr>
            <p:cNvPr id="418" name="iS1íde"/>
            <p:cNvSpPr/>
            <p:nvPr/>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p>
          </p:txBody>
        </p:sp>
        <p:sp>
          <p:nvSpPr>
            <p:cNvPr id="419" name="ï$ļiḍé"/>
            <p:cNvSpPr/>
            <p:nvPr/>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p>
          </p:txBody>
        </p:sp>
        <p:sp>
          <p:nvSpPr>
            <p:cNvPr id="420" name="ïśliďe"/>
            <p:cNvSpPr/>
            <p:nvPr/>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p>
          </p:txBody>
        </p:sp>
        <p:sp>
          <p:nvSpPr>
            <p:cNvPr id="421" name="î$ḻíḍe"/>
            <p:cNvSpPr/>
            <p:nvPr/>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p>
          </p:txBody>
        </p:sp>
        <p:sp>
          <p:nvSpPr>
            <p:cNvPr id="422" name="ïṥḷîḍè"/>
            <p:cNvSpPr/>
            <p:nvPr/>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p>
          </p:txBody>
        </p:sp>
        <p:sp>
          <p:nvSpPr>
            <p:cNvPr id="423" name="îṡľïḍê"/>
            <p:cNvSpPr/>
            <p:nvPr/>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p>
          </p:txBody>
        </p:sp>
        <p:sp>
          <p:nvSpPr>
            <p:cNvPr id="424" name="îṡ1iďe"/>
            <p:cNvSpPr/>
            <p:nvPr/>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p>
          </p:txBody>
        </p:sp>
        <p:sp>
          <p:nvSpPr>
            <p:cNvPr id="425" name="ïŝḷiďè"/>
            <p:cNvSpPr/>
            <p:nvPr/>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p>
          </p:txBody>
        </p:sp>
        <p:sp>
          <p:nvSpPr>
            <p:cNvPr id="426" name="íš1iḋé"/>
            <p:cNvSpPr/>
            <p:nvPr/>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p>
          </p:txBody>
        </p:sp>
        <p:sp>
          <p:nvSpPr>
            <p:cNvPr id="427" name="îšḷiḍè"/>
            <p:cNvSpPr/>
            <p:nvPr/>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p>
          </p:txBody>
        </p:sp>
        <p:sp>
          <p:nvSpPr>
            <p:cNvPr id="428" name="íśḷiḓê"/>
            <p:cNvSpPr/>
            <p:nvPr/>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p>
          </p:txBody>
        </p:sp>
        <p:sp>
          <p:nvSpPr>
            <p:cNvPr id="429" name="i$ḻíḑé"/>
            <p:cNvSpPr/>
            <p:nvPr/>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p>
          </p:txBody>
        </p:sp>
        <p:sp>
          <p:nvSpPr>
            <p:cNvPr id="430" name="iṥlîḍé"/>
            <p:cNvSpPr/>
            <p:nvPr/>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p>
          </p:txBody>
        </p:sp>
        <p:sp>
          <p:nvSpPr>
            <p:cNvPr id="431" name="íšḷíḋè"/>
            <p:cNvSpPr/>
            <p:nvPr/>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p>
          </p:txBody>
        </p:sp>
        <p:sp>
          <p:nvSpPr>
            <p:cNvPr id="432" name="iṩlïdè"/>
            <p:cNvSpPr/>
            <p:nvPr/>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p>
          </p:txBody>
        </p:sp>
        <p:sp>
          <p:nvSpPr>
            <p:cNvPr id="433" name="iŝḻîḑé"/>
            <p:cNvSpPr/>
            <p:nvPr/>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p>
          </p:txBody>
        </p:sp>
        <p:sp>
          <p:nvSpPr>
            <p:cNvPr id="434" name="íṣ1ïďé"/>
            <p:cNvSpPr/>
            <p:nvPr/>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p>
          </p:txBody>
        </p:sp>
        <p:sp>
          <p:nvSpPr>
            <p:cNvPr id="435" name="ísľîďé"/>
            <p:cNvSpPr/>
            <p:nvPr/>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p>
          </p:txBody>
        </p:sp>
        <p:sp>
          <p:nvSpPr>
            <p:cNvPr id="436" name="išľiḓé"/>
            <p:cNvSpPr/>
            <p:nvPr/>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p>
          </p:txBody>
        </p:sp>
        <p:sp>
          <p:nvSpPr>
            <p:cNvPr id="437" name="ïs1íde"/>
            <p:cNvSpPr/>
            <p:nvPr/>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p>
          </p:txBody>
        </p:sp>
        <p:sp>
          <p:nvSpPr>
            <p:cNvPr id="438" name="ï$1ídê"/>
            <p:cNvSpPr/>
            <p:nvPr/>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p>
          </p:txBody>
        </p:sp>
        <p:sp>
          <p:nvSpPr>
            <p:cNvPr id="439" name="îṥḻîḍê"/>
            <p:cNvSpPr/>
            <p:nvPr/>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p>
          </p:txBody>
        </p:sp>
        <p:sp>
          <p:nvSpPr>
            <p:cNvPr id="440" name="îṥḻiďe"/>
            <p:cNvSpPr/>
            <p:nvPr/>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p>
          </p:txBody>
        </p:sp>
        <p:sp>
          <p:nvSpPr>
            <p:cNvPr id="441" name="iṣļíḓè"/>
            <p:cNvSpPr/>
            <p:nvPr/>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p>
          </p:txBody>
        </p:sp>
        <p:sp>
          <p:nvSpPr>
            <p:cNvPr id="442" name="isḻíḓé"/>
            <p:cNvSpPr/>
            <p:nvPr/>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p>
          </p:txBody>
        </p:sp>
        <p:sp>
          <p:nvSpPr>
            <p:cNvPr id="443" name="îşļïďê"/>
            <p:cNvSpPr/>
            <p:nvPr/>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p>
          </p:txBody>
        </p:sp>
        <p:sp>
          <p:nvSpPr>
            <p:cNvPr id="444" name="îş1îďè"/>
            <p:cNvSpPr/>
            <p:nvPr/>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p>
          </p:txBody>
        </p:sp>
        <p:sp>
          <p:nvSpPr>
            <p:cNvPr id="445" name="ïṥļîḍe"/>
            <p:cNvSpPr/>
            <p:nvPr/>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p>
          </p:txBody>
        </p:sp>
        <p:sp>
          <p:nvSpPr>
            <p:cNvPr id="446" name="ïŝlïḋè"/>
            <p:cNvSpPr/>
            <p:nvPr/>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p>
          </p:txBody>
        </p:sp>
        <p:sp>
          <p:nvSpPr>
            <p:cNvPr id="447" name="îśļïḍê"/>
            <p:cNvSpPr/>
            <p:nvPr/>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p>
          </p:txBody>
        </p:sp>
        <p:sp>
          <p:nvSpPr>
            <p:cNvPr id="448" name="ïṡḷídè"/>
            <p:cNvSpPr/>
            <p:nvPr/>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p>
          </p:txBody>
        </p:sp>
        <p:sp>
          <p:nvSpPr>
            <p:cNvPr id="449" name="išļiḍê"/>
            <p:cNvSpPr/>
            <p:nvPr/>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p>
          </p:txBody>
        </p:sp>
        <p:sp>
          <p:nvSpPr>
            <p:cNvPr id="450" name="iṥḷiḓe"/>
            <p:cNvSpPr/>
            <p:nvPr/>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p>
          </p:txBody>
        </p:sp>
        <p:sp>
          <p:nvSpPr>
            <p:cNvPr id="451" name="îṩḷïḍe"/>
            <p:cNvSpPr/>
            <p:nvPr/>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p>
          </p:txBody>
        </p:sp>
        <p:sp>
          <p:nvSpPr>
            <p:cNvPr id="452" name="íṣḷidé"/>
            <p:cNvSpPr/>
            <p:nvPr/>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p>
          </p:txBody>
        </p:sp>
        <p:sp>
          <p:nvSpPr>
            <p:cNvPr id="453" name="íšļiḓé"/>
            <p:cNvSpPr/>
            <p:nvPr/>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p>
          </p:txBody>
        </p:sp>
        <p:sp>
          <p:nvSpPr>
            <p:cNvPr id="454" name="îṩľiḍé"/>
            <p:cNvSpPr/>
            <p:nvPr/>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p>
          </p:txBody>
        </p:sp>
        <p:sp>
          <p:nvSpPr>
            <p:cNvPr id="455" name="îŝľiďê"/>
            <p:cNvSpPr/>
            <p:nvPr/>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p>
          </p:txBody>
        </p:sp>
        <p:sp>
          <p:nvSpPr>
            <p:cNvPr id="456" name="îṩļídê"/>
            <p:cNvSpPr/>
            <p:nvPr/>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p>
          </p:txBody>
        </p:sp>
        <p:sp>
          <p:nvSpPr>
            <p:cNvPr id="457" name="iSḻîdé"/>
            <p:cNvSpPr/>
            <p:nvPr/>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p>
          </p:txBody>
        </p:sp>
        <p:sp>
          <p:nvSpPr>
            <p:cNvPr id="458" name="îşḷïḓé"/>
            <p:cNvSpPr/>
            <p:nvPr/>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p>
          </p:txBody>
        </p:sp>
        <p:sp>
          <p:nvSpPr>
            <p:cNvPr id="459" name="íšḷiḓe"/>
            <p:cNvSpPr/>
            <p:nvPr/>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p>
          </p:txBody>
        </p:sp>
        <p:sp>
          <p:nvSpPr>
            <p:cNvPr id="460" name="îṣ1iḋê"/>
            <p:cNvSpPr/>
            <p:nvPr/>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p>
          </p:txBody>
        </p:sp>
        <p:sp>
          <p:nvSpPr>
            <p:cNvPr id="461" name="îSļïḑé"/>
            <p:cNvSpPr/>
            <p:nvPr/>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p>
          </p:txBody>
        </p:sp>
        <p:sp>
          <p:nvSpPr>
            <p:cNvPr id="462" name="išḷîďé"/>
            <p:cNvSpPr/>
            <p:nvPr/>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p>
          </p:txBody>
        </p:sp>
        <p:sp>
          <p:nvSpPr>
            <p:cNvPr id="463" name="îšľïḍè"/>
            <p:cNvSpPr/>
            <p:nvPr/>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p>
          </p:txBody>
        </p:sp>
        <p:sp>
          <p:nvSpPr>
            <p:cNvPr id="464" name="ïṧḻïḓe"/>
            <p:cNvSpPr/>
            <p:nvPr/>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p>
          </p:txBody>
        </p:sp>
        <p:sp>
          <p:nvSpPr>
            <p:cNvPr id="465" name="ïṥḷíḓè"/>
            <p:cNvSpPr/>
            <p:nvPr/>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p>
          </p:txBody>
        </p:sp>
        <p:sp>
          <p:nvSpPr>
            <p:cNvPr id="466" name="ï$ḻiďe"/>
            <p:cNvSpPr/>
            <p:nvPr/>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p>
          </p:txBody>
        </p:sp>
        <p:sp>
          <p:nvSpPr>
            <p:cNvPr id="467" name="ïṧľiḓê"/>
            <p:cNvSpPr/>
            <p:nvPr/>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p>
          </p:txBody>
        </p:sp>
        <p:sp>
          <p:nvSpPr>
            <p:cNvPr id="468" name="îşḻiḑê"/>
            <p:cNvSpPr/>
            <p:nvPr/>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p>
          </p:txBody>
        </p:sp>
        <p:sp>
          <p:nvSpPr>
            <p:cNvPr id="469" name="ïŝlîdè"/>
            <p:cNvSpPr/>
            <p:nvPr/>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p>
          </p:txBody>
        </p:sp>
        <p:sp>
          <p:nvSpPr>
            <p:cNvPr id="470" name="ïšlíďê"/>
            <p:cNvSpPr/>
            <p:nvPr/>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p>
          </p:txBody>
        </p:sp>
        <p:sp>
          <p:nvSpPr>
            <p:cNvPr id="471" name="ïṧ1íḑé"/>
            <p:cNvSpPr/>
            <p:nvPr/>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p>
          </p:txBody>
        </p:sp>
        <p:sp>
          <p:nvSpPr>
            <p:cNvPr id="472" name="ïṩḻídé"/>
            <p:cNvSpPr/>
            <p:nvPr/>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p>
          </p:txBody>
        </p:sp>
        <p:sp>
          <p:nvSpPr>
            <p:cNvPr id="473" name="ïṧ1idê"/>
            <p:cNvSpPr/>
            <p:nvPr/>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p>
          </p:txBody>
        </p:sp>
        <p:sp>
          <p:nvSpPr>
            <p:cNvPr id="474" name="iš1ïḑe"/>
            <p:cNvSpPr/>
            <p:nvPr/>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p>
          </p:txBody>
        </p:sp>
        <p:sp>
          <p:nvSpPr>
            <p:cNvPr id="475" name="iṡ1íḋe"/>
            <p:cNvSpPr/>
            <p:nvPr/>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p>
          </p:txBody>
        </p:sp>
        <p:sp>
          <p:nvSpPr>
            <p:cNvPr id="476" name="îṡḻîdê"/>
            <p:cNvSpPr/>
            <p:nvPr/>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p>
          </p:txBody>
        </p:sp>
        <p:sp>
          <p:nvSpPr>
            <p:cNvPr id="477" name="îśľiḋe"/>
            <p:cNvSpPr/>
            <p:nvPr/>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p>
          </p:txBody>
        </p:sp>
        <p:sp>
          <p:nvSpPr>
            <p:cNvPr id="478" name="ïṩļîḑè"/>
            <p:cNvSpPr/>
            <p:nvPr/>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p>
          </p:txBody>
        </p:sp>
        <p:sp>
          <p:nvSpPr>
            <p:cNvPr id="479" name="íṧḷíḋe"/>
            <p:cNvSpPr/>
            <p:nvPr/>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480" name="ïşliḋe"/>
            <p:cNvSpPr/>
            <p:nvPr/>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481" name="îṡlïḑé"/>
            <p:cNvSpPr/>
            <p:nvPr/>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482" name="îṩḷiḍê"/>
            <p:cNvSpPr/>
            <p:nvPr/>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p>
          </p:txBody>
        </p:sp>
        <p:sp>
          <p:nvSpPr>
            <p:cNvPr id="483" name="íSļide"/>
            <p:cNvSpPr/>
            <p:nvPr/>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p>
          </p:txBody>
        </p:sp>
        <p:sp>
          <p:nvSpPr>
            <p:cNvPr id="484" name="íṩḷîḋé"/>
            <p:cNvSpPr/>
            <p:nvPr/>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p>
          </p:txBody>
        </p:sp>
        <p:sp>
          <p:nvSpPr>
            <p:cNvPr id="485" name="í$1ïḑe"/>
            <p:cNvSpPr/>
            <p:nvPr/>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486" name="îṣḻiḍê"/>
            <p:cNvSpPr/>
            <p:nvPr/>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p>
          </p:txBody>
        </p:sp>
        <p:sp>
          <p:nvSpPr>
            <p:cNvPr id="487" name="ïşḷïďe"/>
            <p:cNvSpPr/>
            <p:nvPr/>
          </p:nvSpPr>
          <p:spPr bwMode="auto">
            <a:xfrm>
              <a:off x="5763207" y="2810191"/>
              <a:ext cx="115721" cy="80233"/>
            </a:xfrm>
            <a:prstGeom prst="ellipse">
              <a:avLst/>
            </a:prstGeom>
            <a:grpFill/>
            <a:ln>
              <a:noFill/>
            </a:ln>
          </p:spPr>
          <p:txBody>
            <a:bodyPr anchor="ctr"/>
            <a:lstStyle/>
            <a:p>
              <a:pPr algn="ctr"/>
            </a:p>
          </p:txBody>
        </p:sp>
        <p:sp>
          <p:nvSpPr>
            <p:cNvPr id="488" name="îsľïďe"/>
            <p:cNvSpPr/>
            <p:nvPr/>
          </p:nvSpPr>
          <p:spPr bwMode="auto">
            <a:xfrm>
              <a:off x="5905159" y="2810191"/>
              <a:ext cx="115721" cy="80233"/>
            </a:xfrm>
            <a:prstGeom prst="ellipse">
              <a:avLst/>
            </a:prstGeom>
            <a:grpFill/>
            <a:ln>
              <a:noFill/>
            </a:ln>
          </p:spPr>
          <p:txBody>
            <a:bodyPr anchor="ctr"/>
            <a:lstStyle/>
            <a:p>
              <a:pPr algn="ctr"/>
            </a:p>
          </p:txBody>
        </p:sp>
        <p:sp>
          <p:nvSpPr>
            <p:cNvPr id="489" name="íšḻiḓê"/>
            <p:cNvSpPr/>
            <p:nvPr/>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p>
          </p:txBody>
        </p:sp>
        <p:sp>
          <p:nvSpPr>
            <p:cNvPr id="490" name="íSlîḑè"/>
            <p:cNvSpPr/>
            <p:nvPr/>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p>
          </p:txBody>
        </p:sp>
        <p:sp>
          <p:nvSpPr>
            <p:cNvPr id="491" name="îṧḷîḍé"/>
            <p:cNvSpPr/>
            <p:nvPr/>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p>
          </p:txBody>
        </p:sp>
        <p:sp>
          <p:nvSpPr>
            <p:cNvPr id="492" name="ïśļïḋe"/>
            <p:cNvSpPr/>
            <p:nvPr/>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p>
          </p:txBody>
        </p:sp>
        <p:sp>
          <p:nvSpPr>
            <p:cNvPr id="493" name="iṩľîde"/>
            <p:cNvSpPr/>
            <p:nvPr/>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p>
          </p:txBody>
        </p:sp>
        <p:sp>
          <p:nvSpPr>
            <p:cNvPr id="494" name="iślïḑê"/>
            <p:cNvSpPr/>
            <p:nvPr/>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495" name="íṩḻiḓè"/>
            <p:cNvSpPr/>
            <p:nvPr/>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496" name="î$líḍe"/>
            <p:cNvSpPr/>
            <p:nvPr/>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p>
          </p:txBody>
        </p:sp>
        <p:sp>
          <p:nvSpPr>
            <p:cNvPr id="497" name="íSļîdé"/>
            <p:cNvSpPr/>
            <p:nvPr/>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p>
          </p:txBody>
        </p:sp>
        <p:sp>
          <p:nvSpPr>
            <p:cNvPr id="498" name="îṥļîdè"/>
            <p:cNvSpPr/>
            <p:nvPr/>
          </p:nvSpPr>
          <p:spPr bwMode="auto">
            <a:xfrm>
              <a:off x="5616628" y="2907397"/>
              <a:ext cx="117264" cy="84863"/>
            </a:xfrm>
            <a:prstGeom prst="ellipse">
              <a:avLst/>
            </a:prstGeom>
            <a:grpFill/>
            <a:ln>
              <a:noFill/>
            </a:ln>
          </p:spPr>
          <p:txBody>
            <a:bodyPr anchor="ctr"/>
            <a:lstStyle/>
            <a:p>
              <a:pPr algn="ctr"/>
            </a:p>
          </p:txBody>
        </p:sp>
        <p:sp>
          <p:nvSpPr>
            <p:cNvPr id="499" name="íšḻiḍè"/>
            <p:cNvSpPr/>
            <p:nvPr/>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500" name="iŝlïḋe"/>
            <p:cNvSpPr/>
            <p:nvPr/>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501" name="îŝļidê"/>
            <p:cNvSpPr/>
            <p:nvPr/>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p>
          </p:txBody>
        </p:sp>
        <p:sp>
          <p:nvSpPr>
            <p:cNvPr id="502" name="ïṧḻíde"/>
            <p:cNvSpPr/>
            <p:nvPr/>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p>
          </p:txBody>
        </p:sp>
        <p:sp>
          <p:nvSpPr>
            <p:cNvPr id="503" name="íṩlîḋê"/>
            <p:cNvSpPr/>
            <p:nvPr/>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p>
          </p:txBody>
        </p:sp>
        <p:sp>
          <p:nvSpPr>
            <p:cNvPr id="504" name="iṥľîḓê"/>
            <p:cNvSpPr/>
            <p:nvPr/>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p>
          </p:txBody>
        </p:sp>
        <p:sp>
          <p:nvSpPr>
            <p:cNvPr id="505" name="îṥḷïḋê"/>
            <p:cNvSpPr/>
            <p:nvPr/>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p>
          </p:txBody>
        </p:sp>
        <p:sp>
          <p:nvSpPr>
            <p:cNvPr id="506" name="ïṩḷîďè"/>
            <p:cNvSpPr/>
            <p:nvPr/>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p>
          </p:txBody>
        </p:sp>
        <p:sp>
          <p:nvSpPr>
            <p:cNvPr id="507" name="iṥľîḓè"/>
            <p:cNvSpPr/>
            <p:nvPr/>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508" name="íSḷïḑe"/>
            <p:cNvSpPr/>
            <p:nvPr/>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509" name="iṣľíḓé"/>
            <p:cNvSpPr/>
            <p:nvPr/>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p>
          </p:txBody>
        </p:sp>
        <p:sp>
          <p:nvSpPr>
            <p:cNvPr id="510" name="îSḻîḑé"/>
            <p:cNvSpPr/>
            <p:nvPr/>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511" name="íşļiḍé"/>
            <p:cNvSpPr/>
            <p:nvPr/>
          </p:nvSpPr>
          <p:spPr bwMode="auto">
            <a:xfrm>
              <a:off x="5758579" y="3010774"/>
              <a:ext cx="120350" cy="83319"/>
            </a:xfrm>
            <a:prstGeom prst="ellipse">
              <a:avLst/>
            </a:prstGeom>
            <a:grpFill/>
            <a:ln>
              <a:noFill/>
            </a:ln>
          </p:spPr>
          <p:txBody>
            <a:bodyPr anchor="ctr"/>
            <a:lstStyle/>
            <a:p>
              <a:pPr algn="ctr"/>
            </a:p>
          </p:txBody>
        </p:sp>
        <p:sp>
          <p:nvSpPr>
            <p:cNvPr id="512" name="íšľïḋé"/>
            <p:cNvSpPr/>
            <p:nvPr/>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p>
          </p:txBody>
        </p:sp>
        <p:sp>
          <p:nvSpPr>
            <p:cNvPr id="513" name="îṥḷiḍé"/>
            <p:cNvSpPr/>
            <p:nvPr/>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514" name="iṣḻîďé"/>
            <p:cNvSpPr/>
            <p:nvPr/>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515" name="íṥļïďê"/>
            <p:cNvSpPr/>
            <p:nvPr/>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p>
          </p:txBody>
        </p:sp>
        <p:sp>
          <p:nvSpPr>
            <p:cNvPr id="516" name="íṩḻïḍê"/>
            <p:cNvSpPr/>
            <p:nvPr/>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p>
          </p:txBody>
        </p:sp>
        <p:sp>
          <p:nvSpPr>
            <p:cNvPr id="517" name="ïsḷiḑê"/>
            <p:cNvSpPr/>
            <p:nvPr/>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518" name="îsľîḓè"/>
            <p:cNvSpPr/>
            <p:nvPr/>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519" name="ïṣļiḓe"/>
            <p:cNvSpPr/>
            <p:nvPr/>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520" name="îṣ1ïďê"/>
            <p:cNvSpPr/>
            <p:nvPr/>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521" name="ïṡḻîḍê"/>
            <p:cNvSpPr/>
            <p:nvPr/>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p>
          </p:txBody>
        </p:sp>
        <p:sp>
          <p:nvSpPr>
            <p:cNvPr id="522" name="ïŝ1ïḋè"/>
            <p:cNvSpPr/>
            <p:nvPr/>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p>
          </p:txBody>
        </p:sp>
        <p:sp>
          <p:nvSpPr>
            <p:cNvPr id="523" name="iš1idé"/>
            <p:cNvSpPr/>
            <p:nvPr/>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p>
          </p:txBody>
        </p:sp>
        <p:sp>
          <p:nvSpPr>
            <p:cNvPr id="524" name="iṥḷídè"/>
            <p:cNvSpPr/>
            <p:nvPr/>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p>
          </p:txBody>
        </p:sp>
        <p:sp>
          <p:nvSpPr>
            <p:cNvPr id="525" name="í$ḷïḋê"/>
            <p:cNvSpPr/>
            <p:nvPr/>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p>
          </p:txBody>
        </p:sp>
        <p:sp>
          <p:nvSpPr>
            <p:cNvPr id="526" name="îṧlïḋe"/>
            <p:cNvSpPr/>
            <p:nvPr/>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p>
          </p:txBody>
        </p:sp>
        <p:sp>
          <p:nvSpPr>
            <p:cNvPr id="527" name="ïSḷîďe"/>
            <p:cNvSpPr/>
            <p:nvPr/>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p>
          </p:txBody>
        </p:sp>
        <p:sp>
          <p:nvSpPr>
            <p:cNvPr id="528" name="işlíḋê"/>
            <p:cNvSpPr/>
            <p:nvPr/>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p>
          </p:txBody>
        </p:sp>
        <p:sp>
          <p:nvSpPr>
            <p:cNvPr id="529" name="ïṥļíḓè"/>
            <p:cNvSpPr/>
            <p:nvPr/>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p>
          </p:txBody>
        </p:sp>
        <p:sp>
          <p:nvSpPr>
            <p:cNvPr id="530" name="iṣlîḋè"/>
            <p:cNvSpPr/>
            <p:nvPr/>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p>
          </p:txBody>
        </p:sp>
        <p:sp>
          <p:nvSpPr>
            <p:cNvPr id="531" name="işľíḋè"/>
            <p:cNvSpPr/>
            <p:nvPr/>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p>
          </p:txBody>
        </p:sp>
        <p:sp>
          <p:nvSpPr>
            <p:cNvPr id="532" name="i$ḷïḋê"/>
            <p:cNvSpPr/>
            <p:nvPr/>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p>
          </p:txBody>
        </p:sp>
        <p:sp>
          <p:nvSpPr>
            <p:cNvPr id="533" name="iŝḷîḋe"/>
            <p:cNvSpPr/>
            <p:nvPr/>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p>
          </p:txBody>
        </p:sp>
        <p:sp>
          <p:nvSpPr>
            <p:cNvPr id="534" name="işḻïďé"/>
            <p:cNvSpPr/>
            <p:nvPr/>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p>
          </p:txBody>
        </p:sp>
        <p:sp>
          <p:nvSpPr>
            <p:cNvPr id="535" name="íṡ1iḓé"/>
            <p:cNvSpPr/>
            <p:nvPr/>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p>
          </p:txBody>
        </p:sp>
        <p:sp>
          <p:nvSpPr>
            <p:cNvPr id="536" name="ï$ḻíḑê"/>
            <p:cNvSpPr/>
            <p:nvPr/>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p>
          </p:txBody>
        </p:sp>
        <p:sp>
          <p:nvSpPr>
            <p:cNvPr id="537" name="îšḷïḍê"/>
            <p:cNvSpPr/>
            <p:nvPr/>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p>
          </p:txBody>
        </p:sp>
        <p:sp>
          <p:nvSpPr>
            <p:cNvPr id="538" name="iSlîḍe"/>
            <p:cNvSpPr/>
            <p:nvPr/>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p>
          </p:txBody>
        </p:sp>
        <p:sp>
          <p:nvSpPr>
            <p:cNvPr id="539" name="îṩľíḑè"/>
            <p:cNvSpPr/>
            <p:nvPr/>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p>
          </p:txBody>
        </p:sp>
        <p:sp>
          <p:nvSpPr>
            <p:cNvPr id="540" name="íS1ïdê"/>
            <p:cNvSpPr/>
            <p:nvPr/>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p>
          </p:txBody>
        </p:sp>
        <p:sp>
          <p:nvSpPr>
            <p:cNvPr id="541" name="íSļiďe"/>
            <p:cNvSpPr/>
            <p:nvPr/>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p>
          </p:txBody>
        </p:sp>
        <p:sp>
          <p:nvSpPr>
            <p:cNvPr id="542" name="iṣ1ïďè"/>
            <p:cNvSpPr/>
            <p:nvPr/>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p>
          </p:txBody>
        </p:sp>
        <p:sp>
          <p:nvSpPr>
            <p:cNvPr id="543" name="í$ļïďê"/>
            <p:cNvSpPr/>
            <p:nvPr/>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p>
          </p:txBody>
        </p:sp>
        <p:sp>
          <p:nvSpPr>
            <p:cNvPr id="544" name="îŝ1ïḍe"/>
            <p:cNvSpPr/>
            <p:nvPr/>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p>
          </p:txBody>
        </p:sp>
        <p:sp>
          <p:nvSpPr>
            <p:cNvPr id="545" name="iṣļîdè"/>
            <p:cNvSpPr/>
            <p:nvPr/>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p>
          </p:txBody>
        </p:sp>
        <p:sp>
          <p:nvSpPr>
            <p:cNvPr id="546" name="ïšḻïḍè"/>
            <p:cNvSpPr/>
            <p:nvPr/>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p>
          </p:txBody>
        </p:sp>
        <p:sp>
          <p:nvSpPr>
            <p:cNvPr id="547" name="íS1iḍé"/>
            <p:cNvSpPr/>
            <p:nvPr/>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p>
          </p:txBody>
        </p:sp>
        <p:sp>
          <p:nvSpPr>
            <p:cNvPr id="548" name="ïṧļiďè"/>
            <p:cNvSpPr/>
            <p:nvPr/>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p>
          </p:txBody>
        </p:sp>
        <p:sp>
          <p:nvSpPr>
            <p:cNvPr id="549" name="îṡliḋè"/>
            <p:cNvSpPr/>
            <p:nvPr/>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p>
          </p:txBody>
        </p:sp>
        <p:sp>
          <p:nvSpPr>
            <p:cNvPr id="550" name="ïṩļíďè"/>
            <p:cNvSpPr/>
            <p:nvPr/>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p>
          </p:txBody>
        </p:sp>
        <p:sp>
          <p:nvSpPr>
            <p:cNvPr id="551" name="îṣļîďe"/>
            <p:cNvSpPr/>
            <p:nvPr/>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p>
          </p:txBody>
        </p:sp>
        <p:sp>
          <p:nvSpPr>
            <p:cNvPr id="552" name="íṩḷiḑê"/>
            <p:cNvSpPr/>
            <p:nvPr/>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p>
          </p:txBody>
        </p:sp>
        <p:sp>
          <p:nvSpPr>
            <p:cNvPr id="553" name="ïṩlídé"/>
            <p:cNvSpPr/>
            <p:nvPr/>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p>
          </p:txBody>
        </p:sp>
        <p:sp>
          <p:nvSpPr>
            <p:cNvPr id="554" name="îşļiḓé"/>
            <p:cNvSpPr/>
            <p:nvPr/>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p>
          </p:txBody>
        </p:sp>
        <p:sp>
          <p:nvSpPr>
            <p:cNvPr id="555" name="íṧļîdê"/>
            <p:cNvSpPr/>
            <p:nvPr/>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p>
          </p:txBody>
        </p:sp>
        <p:sp>
          <p:nvSpPr>
            <p:cNvPr id="556" name="î$1îḑê"/>
            <p:cNvSpPr/>
            <p:nvPr/>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p>
          </p:txBody>
        </p:sp>
        <p:sp>
          <p:nvSpPr>
            <p:cNvPr id="557" name="i$ḻíḓé"/>
            <p:cNvSpPr/>
            <p:nvPr/>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p>
          </p:txBody>
        </p:sp>
        <p:sp>
          <p:nvSpPr>
            <p:cNvPr id="558" name="îṥḷíḋê"/>
            <p:cNvSpPr/>
            <p:nvPr/>
          </p:nvSpPr>
          <p:spPr bwMode="auto">
            <a:xfrm>
              <a:off x="5755493" y="3445885"/>
              <a:ext cx="128065" cy="94120"/>
            </a:xfrm>
            <a:prstGeom prst="ellipse">
              <a:avLst/>
            </a:prstGeom>
            <a:grpFill/>
            <a:ln>
              <a:noFill/>
            </a:ln>
          </p:spPr>
          <p:txBody>
            <a:bodyPr anchor="ctr"/>
            <a:lstStyle/>
            <a:p>
              <a:pPr algn="ctr"/>
            </a:p>
          </p:txBody>
        </p:sp>
        <p:sp>
          <p:nvSpPr>
            <p:cNvPr id="559" name="ïṩľiḑe"/>
            <p:cNvSpPr/>
            <p:nvPr/>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p>
          </p:txBody>
        </p:sp>
        <p:sp>
          <p:nvSpPr>
            <p:cNvPr id="560" name="ïśḻïḍe"/>
            <p:cNvSpPr/>
            <p:nvPr/>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p>
          </p:txBody>
        </p:sp>
        <p:sp>
          <p:nvSpPr>
            <p:cNvPr id="561" name="íŝľïḍè"/>
            <p:cNvSpPr/>
            <p:nvPr/>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p>
          </p:txBody>
        </p:sp>
        <p:sp>
          <p:nvSpPr>
            <p:cNvPr id="562" name="ï$ḻîḋê"/>
            <p:cNvSpPr/>
            <p:nvPr/>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p>
          </p:txBody>
        </p:sp>
        <p:sp>
          <p:nvSpPr>
            <p:cNvPr id="563" name="î$1iḑè"/>
            <p:cNvSpPr/>
            <p:nvPr/>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p>
          </p:txBody>
        </p:sp>
        <p:sp>
          <p:nvSpPr>
            <p:cNvPr id="564" name="ïšļïḓé"/>
            <p:cNvSpPr/>
            <p:nvPr/>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p>
          </p:txBody>
        </p:sp>
        <p:sp>
          <p:nvSpPr>
            <p:cNvPr id="565" name="íŝļïďe"/>
            <p:cNvSpPr/>
            <p:nvPr/>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p>
          </p:txBody>
        </p:sp>
        <p:sp>
          <p:nvSpPr>
            <p:cNvPr id="566" name="ïsḷïde"/>
            <p:cNvSpPr/>
            <p:nvPr/>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p>
          </p:txBody>
        </p:sp>
        <p:sp>
          <p:nvSpPr>
            <p:cNvPr id="567" name="iŝ1íḑê"/>
            <p:cNvSpPr/>
            <p:nvPr/>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p>
          </p:txBody>
        </p:sp>
        <p:sp>
          <p:nvSpPr>
            <p:cNvPr id="568" name="ïṡlîḍè"/>
            <p:cNvSpPr/>
            <p:nvPr/>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p>
          </p:txBody>
        </p:sp>
        <p:sp>
          <p:nvSpPr>
            <p:cNvPr id="569" name="ïŝḷîdé"/>
            <p:cNvSpPr/>
            <p:nvPr/>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p>
          </p:txBody>
        </p:sp>
        <p:sp>
          <p:nvSpPr>
            <p:cNvPr id="570" name="îṥ1ïḍê"/>
            <p:cNvSpPr/>
            <p:nvPr/>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p>
          </p:txBody>
        </p:sp>
        <p:sp>
          <p:nvSpPr>
            <p:cNvPr id="571" name="îṧľîḑe"/>
            <p:cNvSpPr/>
            <p:nvPr/>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p>
          </p:txBody>
        </p:sp>
        <p:sp>
          <p:nvSpPr>
            <p:cNvPr id="572" name="iṧ1iďê"/>
            <p:cNvSpPr/>
            <p:nvPr/>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p>
          </p:txBody>
        </p:sp>
        <p:sp>
          <p:nvSpPr>
            <p:cNvPr id="573" name="iṡlîďè"/>
            <p:cNvSpPr/>
            <p:nvPr/>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p>
          </p:txBody>
        </p:sp>
        <p:sp>
          <p:nvSpPr>
            <p:cNvPr id="574" name="íṧľíde"/>
            <p:cNvSpPr/>
            <p:nvPr/>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p>
          </p:txBody>
        </p:sp>
        <p:sp>
          <p:nvSpPr>
            <p:cNvPr id="575" name="íṡ1íḋé"/>
            <p:cNvSpPr/>
            <p:nvPr/>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p>
          </p:txBody>
        </p:sp>
        <p:sp>
          <p:nvSpPr>
            <p:cNvPr id="576" name="i$líḓê"/>
            <p:cNvSpPr/>
            <p:nvPr/>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p>
          </p:txBody>
        </p:sp>
        <p:sp>
          <p:nvSpPr>
            <p:cNvPr id="577" name="î$ḷïḑé"/>
            <p:cNvSpPr/>
            <p:nvPr/>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p>
          </p:txBody>
        </p:sp>
        <p:sp>
          <p:nvSpPr>
            <p:cNvPr id="578" name="išḷïḍé"/>
            <p:cNvSpPr/>
            <p:nvPr/>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p>
          </p:txBody>
        </p:sp>
        <p:sp>
          <p:nvSpPr>
            <p:cNvPr id="579" name="işļîḑé"/>
            <p:cNvSpPr/>
            <p:nvPr/>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p>
          </p:txBody>
        </p:sp>
        <p:sp>
          <p:nvSpPr>
            <p:cNvPr id="580" name="íṡḷiḋè"/>
            <p:cNvSpPr/>
            <p:nvPr/>
          </p:nvSpPr>
          <p:spPr bwMode="auto">
            <a:xfrm>
              <a:off x="5915960" y="3803849"/>
              <a:ext cx="131151" cy="101834"/>
            </a:xfrm>
            <a:prstGeom prst="ellipse">
              <a:avLst/>
            </a:prstGeom>
            <a:grpFill/>
            <a:ln>
              <a:noFill/>
            </a:ln>
          </p:spPr>
          <p:txBody>
            <a:bodyPr anchor="ctr"/>
            <a:lstStyle/>
            <a:p>
              <a:pPr algn="ctr"/>
            </a:p>
          </p:txBody>
        </p:sp>
        <p:sp>
          <p:nvSpPr>
            <p:cNvPr id="581" name="iŝļîďé"/>
            <p:cNvSpPr/>
            <p:nvPr/>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p>
          </p:txBody>
        </p:sp>
        <p:sp>
          <p:nvSpPr>
            <p:cNvPr id="582" name="îşļîďê"/>
            <p:cNvSpPr/>
            <p:nvPr/>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p>
          </p:txBody>
        </p:sp>
        <p:sp>
          <p:nvSpPr>
            <p:cNvPr id="583" name="îṡlïde"/>
            <p:cNvSpPr/>
            <p:nvPr/>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p>
          </p:txBody>
        </p:sp>
        <p:sp>
          <p:nvSpPr>
            <p:cNvPr id="584" name="íṣ1ídè"/>
            <p:cNvSpPr/>
            <p:nvPr/>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p>
          </p:txBody>
        </p:sp>
        <p:sp>
          <p:nvSpPr>
            <p:cNvPr id="585" name="iśḷîďè"/>
            <p:cNvSpPr/>
            <p:nvPr/>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p>
          </p:txBody>
        </p:sp>
        <p:sp>
          <p:nvSpPr>
            <p:cNvPr id="586" name="iṩ1íďê"/>
            <p:cNvSpPr/>
            <p:nvPr/>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p>
          </p:txBody>
        </p:sp>
        <p:sp>
          <p:nvSpPr>
            <p:cNvPr id="587" name="iŝḻiḋè"/>
            <p:cNvSpPr/>
            <p:nvPr/>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p>
          </p:txBody>
        </p:sp>
        <p:sp>
          <p:nvSpPr>
            <p:cNvPr id="588" name="iŝḻïḋe"/>
            <p:cNvSpPr/>
            <p:nvPr/>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p>
          </p:txBody>
        </p:sp>
        <p:sp>
          <p:nvSpPr>
            <p:cNvPr id="589" name="íṣlîḓé"/>
            <p:cNvSpPr/>
            <p:nvPr/>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p>
          </p:txBody>
        </p:sp>
        <p:sp>
          <p:nvSpPr>
            <p:cNvPr id="590" name="íṥḷiḍé"/>
            <p:cNvSpPr/>
            <p:nvPr/>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p>
          </p:txBody>
        </p:sp>
        <p:sp>
          <p:nvSpPr>
            <p:cNvPr id="591" name="is1iḑè"/>
            <p:cNvSpPr/>
            <p:nvPr/>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p>
          </p:txBody>
        </p:sp>
        <p:sp>
          <p:nvSpPr>
            <p:cNvPr id="592" name="ïSľíḓè"/>
            <p:cNvSpPr/>
            <p:nvPr/>
          </p:nvSpPr>
          <p:spPr bwMode="auto">
            <a:xfrm>
              <a:off x="5750864" y="4063064"/>
              <a:ext cx="135779" cy="109550"/>
            </a:xfrm>
            <a:prstGeom prst="ellipse">
              <a:avLst/>
            </a:prstGeom>
            <a:grpFill/>
            <a:ln>
              <a:noFill/>
            </a:ln>
          </p:spPr>
          <p:txBody>
            <a:bodyPr anchor="ctr"/>
            <a:lstStyle/>
            <a:p>
              <a:pPr algn="ctr"/>
            </a:p>
          </p:txBody>
        </p:sp>
        <p:sp>
          <p:nvSpPr>
            <p:cNvPr id="593" name="íṩľîḍè"/>
            <p:cNvSpPr/>
            <p:nvPr/>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p>
          </p:txBody>
        </p:sp>
        <p:sp>
          <p:nvSpPr>
            <p:cNvPr id="594" name="íś1ídè"/>
            <p:cNvSpPr/>
            <p:nvPr/>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p>
          </p:txBody>
        </p:sp>
        <p:sp>
          <p:nvSpPr>
            <p:cNvPr id="595" name="iṩḷíḋè"/>
            <p:cNvSpPr/>
            <p:nvPr/>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p>
          </p:txBody>
        </p:sp>
        <p:sp>
          <p:nvSpPr>
            <p:cNvPr id="596" name="išlíde"/>
            <p:cNvSpPr/>
            <p:nvPr/>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p>
          </p:txBody>
        </p:sp>
        <p:sp>
          <p:nvSpPr>
            <p:cNvPr id="597" name="išlíde"/>
            <p:cNvSpPr/>
            <p:nvPr/>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p>
          </p:txBody>
        </p:sp>
        <p:sp>
          <p:nvSpPr>
            <p:cNvPr id="598" name="ïsḻïḋe"/>
            <p:cNvSpPr/>
            <p:nvPr/>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p>
          </p:txBody>
        </p:sp>
        <p:sp>
          <p:nvSpPr>
            <p:cNvPr id="599" name="iṣ1íďe"/>
            <p:cNvSpPr/>
            <p:nvPr/>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p>
          </p:txBody>
        </p:sp>
        <p:sp>
          <p:nvSpPr>
            <p:cNvPr id="600" name="îṥḻïde"/>
            <p:cNvSpPr/>
            <p:nvPr/>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p>
          </p:txBody>
        </p:sp>
        <p:sp>
          <p:nvSpPr>
            <p:cNvPr id="601" name="îṡḻiḋê"/>
            <p:cNvSpPr/>
            <p:nvPr/>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p>
          </p:txBody>
        </p:sp>
        <p:sp>
          <p:nvSpPr>
            <p:cNvPr id="602" name="iSľíḍé"/>
            <p:cNvSpPr/>
            <p:nvPr/>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p>
          </p:txBody>
        </p:sp>
        <p:sp>
          <p:nvSpPr>
            <p:cNvPr id="603" name="iṧlïḓe"/>
            <p:cNvSpPr/>
            <p:nvPr/>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p>
          </p:txBody>
        </p:sp>
        <p:sp>
          <p:nvSpPr>
            <p:cNvPr id="604" name="ís1îḋé"/>
            <p:cNvSpPr/>
            <p:nvPr/>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p>
          </p:txBody>
        </p:sp>
        <p:sp>
          <p:nvSpPr>
            <p:cNvPr id="605" name="iŝḻiḓè"/>
            <p:cNvSpPr/>
            <p:nvPr/>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p>
          </p:txBody>
        </p:sp>
        <p:sp>
          <p:nvSpPr>
            <p:cNvPr id="606" name="iśḷiḓé"/>
            <p:cNvSpPr/>
            <p:nvPr/>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p>
          </p:txBody>
        </p:sp>
        <p:sp>
          <p:nvSpPr>
            <p:cNvPr id="607" name="íŝḻïḓe"/>
            <p:cNvSpPr/>
            <p:nvPr/>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p>
          </p:txBody>
        </p:sp>
        <p:sp>
          <p:nvSpPr>
            <p:cNvPr id="608" name="ïṧlîḍe"/>
            <p:cNvSpPr/>
            <p:nvPr/>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p>
          </p:txBody>
        </p:sp>
        <p:sp>
          <p:nvSpPr>
            <p:cNvPr id="609" name="ïṣḷïḍê"/>
            <p:cNvSpPr/>
            <p:nvPr/>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p>
          </p:txBody>
        </p:sp>
        <p:sp>
          <p:nvSpPr>
            <p:cNvPr id="610" name="ïslíďé"/>
            <p:cNvSpPr/>
            <p:nvPr/>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p>
          </p:txBody>
        </p:sp>
        <p:sp>
          <p:nvSpPr>
            <p:cNvPr id="611" name="ïslïḋe"/>
            <p:cNvSpPr/>
            <p:nvPr/>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p>
          </p:txBody>
        </p:sp>
        <p:sp>
          <p:nvSpPr>
            <p:cNvPr id="612" name="ïş1îḑe"/>
            <p:cNvSpPr/>
            <p:nvPr/>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p>
          </p:txBody>
        </p:sp>
        <p:sp>
          <p:nvSpPr>
            <p:cNvPr id="613" name="iṩľïḓè"/>
            <p:cNvSpPr/>
            <p:nvPr/>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p>
          </p:txBody>
        </p:sp>
        <p:sp>
          <p:nvSpPr>
            <p:cNvPr id="614" name="íŝlïde"/>
            <p:cNvSpPr/>
            <p:nvPr/>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p>
          </p:txBody>
        </p:sp>
        <p:sp>
          <p:nvSpPr>
            <p:cNvPr id="615" name="îsḻïḋé"/>
            <p:cNvSpPr/>
            <p:nvPr/>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p>
          </p:txBody>
        </p:sp>
        <p:sp>
          <p:nvSpPr>
            <p:cNvPr id="616" name="íşḻíďé"/>
            <p:cNvSpPr/>
            <p:nvPr/>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p>
          </p:txBody>
        </p:sp>
        <p:sp>
          <p:nvSpPr>
            <p:cNvPr id="617" name="ïšļiḓè"/>
            <p:cNvSpPr/>
            <p:nvPr/>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p>
          </p:txBody>
        </p:sp>
        <p:sp>
          <p:nvSpPr>
            <p:cNvPr id="618" name="iśḻïḓê"/>
            <p:cNvSpPr/>
            <p:nvPr/>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p>
          </p:txBody>
        </p:sp>
        <p:sp>
          <p:nvSpPr>
            <p:cNvPr id="619" name="îşlïďe"/>
            <p:cNvSpPr/>
            <p:nvPr/>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p>
          </p:txBody>
        </p:sp>
        <p:sp>
          <p:nvSpPr>
            <p:cNvPr id="620" name="iS1iḋe"/>
            <p:cNvSpPr/>
            <p:nvPr/>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p>
          </p:txBody>
        </p:sp>
        <p:sp>
          <p:nvSpPr>
            <p:cNvPr id="621" name="íşḷídé"/>
            <p:cNvSpPr/>
            <p:nvPr/>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p>
          </p:txBody>
        </p:sp>
        <p:sp>
          <p:nvSpPr>
            <p:cNvPr id="622" name="iṧļîďê"/>
            <p:cNvSpPr/>
            <p:nvPr/>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p>
          </p:txBody>
        </p:sp>
        <p:sp>
          <p:nvSpPr>
            <p:cNvPr id="623" name="ïśḻïďê"/>
            <p:cNvSpPr/>
            <p:nvPr/>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p>
          </p:txBody>
        </p:sp>
        <p:sp>
          <p:nvSpPr>
            <p:cNvPr id="624" name="išlïḋe"/>
            <p:cNvSpPr/>
            <p:nvPr/>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p>
          </p:txBody>
        </p:sp>
        <p:sp>
          <p:nvSpPr>
            <p:cNvPr id="625" name="íṣḻîdê"/>
            <p:cNvSpPr/>
            <p:nvPr/>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p>
          </p:txBody>
        </p:sp>
        <p:sp>
          <p:nvSpPr>
            <p:cNvPr id="626" name="îŝļíḓê"/>
            <p:cNvSpPr/>
            <p:nvPr/>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p>
          </p:txBody>
        </p:sp>
        <p:sp>
          <p:nvSpPr>
            <p:cNvPr id="627" name="îŝliḑê"/>
            <p:cNvSpPr/>
            <p:nvPr/>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p>
          </p:txBody>
        </p:sp>
        <p:sp>
          <p:nvSpPr>
            <p:cNvPr id="628" name="íš1íďé"/>
            <p:cNvSpPr/>
            <p:nvPr/>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p>
          </p:txBody>
        </p:sp>
        <p:sp>
          <p:nvSpPr>
            <p:cNvPr id="629" name="iślídè"/>
            <p:cNvSpPr/>
            <p:nvPr/>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p>
          </p:txBody>
        </p:sp>
        <p:sp>
          <p:nvSpPr>
            <p:cNvPr id="630" name="ïṡļíďè"/>
            <p:cNvSpPr/>
            <p:nvPr/>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p>
          </p:txBody>
        </p:sp>
        <p:sp>
          <p:nvSpPr>
            <p:cNvPr id="631" name="îṩḷîdè"/>
            <p:cNvSpPr/>
            <p:nvPr/>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p>
          </p:txBody>
        </p:sp>
        <p:sp>
          <p:nvSpPr>
            <p:cNvPr id="632" name="íṩľiḋe"/>
            <p:cNvSpPr/>
            <p:nvPr/>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p>
          </p:txBody>
        </p:sp>
        <p:sp>
          <p:nvSpPr>
            <p:cNvPr id="633" name="îşlíḍè"/>
            <p:cNvSpPr/>
            <p:nvPr/>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p>
          </p:txBody>
        </p:sp>
        <p:sp>
          <p:nvSpPr>
            <p:cNvPr id="634" name="iSḷíḍê"/>
            <p:cNvSpPr/>
            <p:nvPr/>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p>
          </p:txBody>
        </p:sp>
        <p:sp>
          <p:nvSpPr>
            <p:cNvPr id="635" name="îśḷiḍè"/>
            <p:cNvSpPr/>
            <p:nvPr/>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p>
          </p:txBody>
        </p:sp>
        <p:sp>
          <p:nvSpPr>
            <p:cNvPr id="636" name="i$ḷîḑe"/>
            <p:cNvSpPr/>
            <p:nvPr/>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p>
          </p:txBody>
        </p:sp>
        <p:sp>
          <p:nvSpPr>
            <p:cNvPr id="637" name="íṧḷîďè"/>
            <p:cNvSpPr/>
            <p:nvPr/>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p>
          </p:txBody>
        </p:sp>
        <p:sp>
          <p:nvSpPr>
            <p:cNvPr id="638" name="iS1iḓe"/>
            <p:cNvSpPr/>
            <p:nvPr/>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p>
          </p:txBody>
        </p:sp>
        <p:sp>
          <p:nvSpPr>
            <p:cNvPr id="639" name="íṣḻíḋê"/>
            <p:cNvSpPr/>
            <p:nvPr/>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p>
          </p:txBody>
        </p:sp>
        <p:sp>
          <p:nvSpPr>
            <p:cNvPr id="640" name="ïṡḻïďê"/>
            <p:cNvSpPr/>
            <p:nvPr/>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p>
          </p:txBody>
        </p:sp>
        <p:sp>
          <p:nvSpPr>
            <p:cNvPr id="641" name="îś1ide"/>
            <p:cNvSpPr/>
            <p:nvPr/>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p>
          </p:txBody>
        </p:sp>
        <p:sp>
          <p:nvSpPr>
            <p:cNvPr id="642" name="íṧľïďé"/>
            <p:cNvSpPr/>
            <p:nvPr/>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p>
          </p:txBody>
        </p:sp>
        <p:sp>
          <p:nvSpPr>
            <p:cNvPr id="643" name="îṩ1iḋè"/>
            <p:cNvSpPr/>
            <p:nvPr/>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p>
          </p:txBody>
        </p:sp>
        <p:sp>
          <p:nvSpPr>
            <p:cNvPr id="644" name="ïŝļîḓê"/>
            <p:cNvSpPr/>
            <p:nvPr/>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p>
          </p:txBody>
        </p:sp>
        <p:sp>
          <p:nvSpPr>
            <p:cNvPr id="645" name="îšḻïďe"/>
            <p:cNvSpPr/>
            <p:nvPr/>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p>
          </p:txBody>
        </p:sp>
        <p:sp>
          <p:nvSpPr>
            <p:cNvPr id="646" name="iṩḻïḋé"/>
            <p:cNvSpPr/>
            <p:nvPr/>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p>
          </p:txBody>
        </p:sp>
        <p:sp>
          <p:nvSpPr>
            <p:cNvPr id="647" name="ísḻiḑê"/>
            <p:cNvSpPr/>
            <p:nvPr/>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p>
          </p:txBody>
        </p:sp>
        <p:sp>
          <p:nvSpPr>
            <p:cNvPr id="648" name="îśļíḑê"/>
            <p:cNvSpPr/>
            <p:nvPr/>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p>
          </p:txBody>
        </p:sp>
        <p:sp>
          <p:nvSpPr>
            <p:cNvPr id="649" name="ïṣlíde"/>
            <p:cNvSpPr/>
            <p:nvPr/>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p>
          </p:txBody>
        </p:sp>
        <p:sp>
          <p:nvSpPr>
            <p:cNvPr id="650" name="íšļiḍe"/>
            <p:cNvSpPr/>
            <p:nvPr/>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p>
          </p:txBody>
        </p:sp>
        <p:sp>
          <p:nvSpPr>
            <p:cNvPr id="651" name="iṥḻíḓè"/>
            <p:cNvSpPr/>
            <p:nvPr/>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p>
          </p:txBody>
        </p:sp>
        <p:sp>
          <p:nvSpPr>
            <p:cNvPr id="652" name="îṧlíḓe"/>
            <p:cNvSpPr/>
            <p:nvPr/>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p>
          </p:txBody>
        </p:sp>
        <p:sp>
          <p:nvSpPr>
            <p:cNvPr id="653" name="íṧ1îďé"/>
            <p:cNvSpPr/>
            <p:nvPr/>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p>
          </p:txBody>
        </p:sp>
        <p:sp>
          <p:nvSpPr>
            <p:cNvPr id="654" name="i$liďè"/>
            <p:cNvSpPr/>
            <p:nvPr/>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p>
          </p:txBody>
        </p:sp>
        <p:sp>
          <p:nvSpPr>
            <p:cNvPr id="655" name="ïṧľïḑè"/>
            <p:cNvSpPr/>
            <p:nvPr/>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p>
          </p:txBody>
        </p:sp>
        <p:sp>
          <p:nvSpPr>
            <p:cNvPr id="656" name="i$ļïďe"/>
            <p:cNvSpPr/>
            <p:nvPr/>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p>
          </p:txBody>
        </p:sp>
        <p:sp>
          <p:nvSpPr>
            <p:cNvPr id="657" name="iṡļiḑê"/>
            <p:cNvSpPr/>
            <p:nvPr/>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p>
          </p:txBody>
        </p:sp>
        <p:sp>
          <p:nvSpPr>
            <p:cNvPr id="658" name="íṡḻidè"/>
            <p:cNvSpPr/>
            <p:nvPr/>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p>
          </p:txBody>
        </p:sp>
        <p:sp>
          <p:nvSpPr>
            <p:cNvPr id="659" name="iŝḻïde"/>
            <p:cNvSpPr/>
            <p:nvPr/>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p>
          </p:txBody>
        </p:sp>
        <p:sp>
          <p:nvSpPr>
            <p:cNvPr id="660" name="ïşļîḋê"/>
            <p:cNvSpPr/>
            <p:nvPr/>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p>
          </p:txBody>
        </p:sp>
        <p:sp>
          <p:nvSpPr>
            <p:cNvPr id="661" name="iṧ1iḍé"/>
            <p:cNvSpPr/>
            <p:nvPr/>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p>
          </p:txBody>
        </p:sp>
        <p:sp>
          <p:nvSpPr>
            <p:cNvPr id="662" name="íŝḻiḑé"/>
            <p:cNvSpPr/>
            <p:nvPr/>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p>
          </p:txBody>
        </p:sp>
        <p:sp>
          <p:nvSpPr>
            <p:cNvPr id="663" name="ïSļíḓé"/>
            <p:cNvSpPr/>
            <p:nvPr/>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p>
          </p:txBody>
        </p:sp>
        <p:sp>
          <p:nvSpPr>
            <p:cNvPr id="664" name="îṧḷiḓê"/>
            <p:cNvSpPr/>
            <p:nvPr/>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p>
          </p:txBody>
        </p:sp>
        <p:sp>
          <p:nvSpPr>
            <p:cNvPr id="665" name="íslíďê"/>
            <p:cNvSpPr/>
            <p:nvPr/>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p>
          </p:txBody>
        </p:sp>
        <p:sp>
          <p:nvSpPr>
            <p:cNvPr id="666" name="íṥ1îdê"/>
            <p:cNvSpPr/>
            <p:nvPr/>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p>
          </p:txBody>
        </p:sp>
        <p:sp>
          <p:nvSpPr>
            <p:cNvPr id="667" name="îṩḻíḓè"/>
            <p:cNvSpPr/>
            <p:nvPr/>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p>
          </p:txBody>
        </p:sp>
        <p:sp>
          <p:nvSpPr>
            <p:cNvPr id="668" name="íş1ídê"/>
            <p:cNvSpPr/>
            <p:nvPr/>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p>
          </p:txBody>
        </p:sp>
        <p:sp>
          <p:nvSpPr>
            <p:cNvPr id="669" name="îṩlïdè"/>
            <p:cNvSpPr/>
            <p:nvPr/>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p>
          </p:txBody>
        </p:sp>
        <p:sp>
          <p:nvSpPr>
            <p:cNvPr id="670" name="iş1iḑè"/>
            <p:cNvSpPr/>
            <p:nvPr/>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p>
          </p:txBody>
        </p:sp>
        <p:sp>
          <p:nvSpPr>
            <p:cNvPr id="671" name="íşḷïḑe"/>
            <p:cNvSpPr/>
            <p:nvPr/>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p>
          </p:txBody>
        </p:sp>
        <p:sp>
          <p:nvSpPr>
            <p:cNvPr id="672" name="îṡ1ïḓe"/>
            <p:cNvSpPr/>
            <p:nvPr/>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p>
          </p:txBody>
        </p:sp>
        <p:sp>
          <p:nvSpPr>
            <p:cNvPr id="673" name="î$ḻíḑê"/>
            <p:cNvSpPr/>
            <p:nvPr/>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p>
          </p:txBody>
        </p:sp>
        <p:sp>
          <p:nvSpPr>
            <p:cNvPr id="674" name="ïS1iḓè"/>
            <p:cNvSpPr/>
            <p:nvPr/>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p>
          </p:txBody>
        </p:sp>
        <p:sp>
          <p:nvSpPr>
            <p:cNvPr id="675" name="îṥľîḍe"/>
            <p:cNvSpPr/>
            <p:nvPr/>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p>
          </p:txBody>
        </p:sp>
        <p:sp>
          <p:nvSpPr>
            <p:cNvPr id="676" name="ïṩḻîďê"/>
            <p:cNvSpPr/>
            <p:nvPr/>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p>
          </p:txBody>
        </p:sp>
        <p:sp>
          <p:nvSpPr>
            <p:cNvPr id="677" name="íṣľiḓé"/>
            <p:cNvSpPr/>
            <p:nvPr/>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p>
          </p:txBody>
        </p:sp>
        <p:sp>
          <p:nvSpPr>
            <p:cNvPr id="678" name="ïšḷiḍê"/>
            <p:cNvSpPr/>
            <p:nvPr/>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p>
          </p:txBody>
        </p:sp>
        <p:sp>
          <p:nvSpPr>
            <p:cNvPr id="679" name="îṧľiḍé"/>
            <p:cNvSpPr/>
            <p:nvPr/>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p>
          </p:txBody>
        </p:sp>
        <p:sp>
          <p:nvSpPr>
            <p:cNvPr id="680" name="is1íḋe"/>
            <p:cNvSpPr/>
            <p:nvPr/>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p>
          </p:txBody>
        </p:sp>
        <p:sp>
          <p:nvSpPr>
            <p:cNvPr id="681" name="îşḻïďè"/>
            <p:cNvSpPr/>
            <p:nvPr/>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p>
          </p:txBody>
        </p:sp>
        <p:sp>
          <p:nvSpPr>
            <p:cNvPr id="682" name="íšliďe"/>
            <p:cNvSpPr/>
            <p:nvPr/>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p>
          </p:txBody>
        </p:sp>
        <p:sp>
          <p:nvSpPr>
            <p:cNvPr id="683" name="íŝlíḋê"/>
            <p:cNvSpPr/>
            <p:nvPr/>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p>
          </p:txBody>
        </p:sp>
        <p:sp>
          <p:nvSpPr>
            <p:cNvPr id="684" name="îṣlîdé"/>
            <p:cNvSpPr/>
            <p:nvPr/>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p>
          </p:txBody>
        </p:sp>
        <p:sp>
          <p:nvSpPr>
            <p:cNvPr id="685" name="îṥḻíḍê"/>
            <p:cNvSpPr/>
            <p:nvPr/>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p>
          </p:txBody>
        </p:sp>
        <p:sp>
          <p:nvSpPr>
            <p:cNvPr id="686" name="îsľíḑê"/>
            <p:cNvSpPr/>
            <p:nvPr/>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p>
          </p:txBody>
        </p:sp>
        <p:sp>
          <p:nvSpPr>
            <p:cNvPr id="687" name="îSḻíḓè"/>
            <p:cNvSpPr/>
            <p:nvPr/>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p>
          </p:txBody>
        </p:sp>
        <p:sp>
          <p:nvSpPr>
            <p:cNvPr id="688" name="îṡḷíḓê"/>
            <p:cNvSpPr/>
            <p:nvPr/>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p>
          </p:txBody>
        </p:sp>
        <p:sp>
          <p:nvSpPr>
            <p:cNvPr id="689" name="íšḻiḓé"/>
            <p:cNvSpPr/>
            <p:nvPr/>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p>
          </p:txBody>
        </p:sp>
        <p:sp>
          <p:nvSpPr>
            <p:cNvPr id="690" name="ïşḻíḋè"/>
            <p:cNvSpPr/>
            <p:nvPr/>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p>
          </p:txBody>
        </p:sp>
        <p:sp>
          <p:nvSpPr>
            <p:cNvPr id="691" name="ísľíḍê"/>
            <p:cNvSpPr/>
            <p:nvPr/>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p>
          </p:txBody>
        </p:sp>
        <p:sp>
          <p:nvSpPr>
            <p:cNvPr id="692" name="îS1íḑè"/>
            <p:cNvSpPr/>
            <p:nvPr/>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693" name="iśḻîdé"/>
            <p:cNvSpPr/>
            <p:nvPr/>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p>
          </p:txBody>
        </p:sp>
        <p:sp>
          <p:nvSpPr>
            <p:cNvPr id="694" name="ïṡḷiďé"/>
            <p:cNvSpPr/>
            <p:nvPr/>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p>
          </p:txBody>
        </p:sp>
        <p:sp>
          <p:nvSpPr>
            <p:cNvPr id="695" name="ïṩľïḑé"/>
            <p:cNvSpPr/>
            <p:nvPr/>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p>
          </p:txBody>
        </p:sp>
        <p:sp>
          <p:nvSpPr>
            <p:cNvPr id="696" name="iśḷídé"/>
            <p:cNvSpPr/>
            <p:nvPr/>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p>
          </p:txBody>
        </p:sp>
        <p:sp>
          <p:nvSpPr>
            <p:cNvPr id="697" name="i$ḻïḓê"/>
            <p:cNvSpPr/>
            <p:nvPr/>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p>
          </p:txBody>
        </p:sp>
        <p:sp>
          <p:nvSpPr>
            <p:cNvPr id="698" name="îšlîdè"/>
            <p:cNvSpPr/>
            <p:nvPr/>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p>
          </p:txBody>
        </p:sp>
        <p:sp>
          <p:nvSpPr>
            <p:cNvPr id="699" name="îsḻiḑê"/>
            <p:cNvSpPr/>
            <p:nvPr/>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700" name="îs1ïḍê"/>
            <p:cNvSpPr/>
            <p:nvPr/>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p>
          </p:txBody>
        </p:sp>
        <p:sp>
          <p:nvSpPr>
            <p:cNvPr id="701" name="íṣľîḍè"/>
            <p:cNvSpPr/>
            <p:nvPr/>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p>
          </p:txBody>
        </p:sp>
        <p:sp>
          <p:nvSpPr>
            <p:cNvPr id="702" name="îṣlíḓê"/>
            <p:cNvSpPr/>
            <p:nvPr/>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703" name="ïšļiḑe"/>
            <p:cNvSpPr/>
            <p:nvPr/>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p>
          </p:txBody>
        </p:sp>
        <p:sp>
          <p:nvSpPr>
            <p:cNvPr id="704" name="íṡlïḍè"/>
            <p:cNvSpPr/>
            <p:nvPr/>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p>
          </p:txBody>
        </p:sp>
        <p:sp>
          <p:nvSpPr>
            <p:cNvPr id="705" name="îšḷïḓê"/>
            <p:cNvSpPr/>
            <p:nvPr/>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p>
          </p:txBody>
        </p:sp>
        <p:sp>
          <p:nvSpPr>
            <p:cNvPr id="706" name="í$ḷïḍe"/>
            <p:cNvSpPr/>
            <p:nvPr/>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p>
          </p:txBody>
        </p:sp>
        <p:sp>
          <p:nvSpPr>
            <p:cNvPr id="707" name="íSļïdé"/>
            <p:cNvSpPr/>
            <p:nvPr/>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p>
          </p:txBody>
        </p:sp>
        <p:sp>
          <p:nvSpPr>
            <p:cNvPr id="708" name="isľiḋê"/>
            <p:cNvSpPr/>
            <p:nvPr/>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709" name="íṣļiḍê"/>
            <p:cNvSpPr/>
            <p:nvPr/>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p>
          </p:txBody>
        </p:sp>
        <p:sp>
          <p:nvSpPr>
            <p:cNvPr id="710" name="îṩliďè"/>
            <p:cNvSpPr/>
            <p:nvPr/>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p>
          </p:txBody>
        </p:sp>
        <p:sp>
          <p:nvSpPr>
            <p:cNvPr id="711" name="îṣḷiďè"/>
            <p:cNvSpPr/>
            <p:nvPr/>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p>
          </p:txBody>
        </p:sp>
        <p:sp>
          <p:nvSpPr>
            <p:cNvPr id="712" name="ïšľíḓè"/>
            <p:cNvSpPr/>
            <p:nvPr/>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p>
          </p:txBody>
        </p:sp>
        <p:sp>
          <p:nvSpPr>
            <p:cNvPr id="713" name="îṩlïḓè"/>
            <p:cNvSpPr/>
            <p:nvPr/>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14" name="iṩļïḑe"/>
            <p:cNvSpPr/>
            <p:nvPr/>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715" name="íṡḷïḋê"/>
            <p:cNvSpPr/>
            <p:nvPr/>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p>
          </p:txBody>
        </p:sp>
        <p:sp>
          <p:nvSpPr>
            <p:cNvPr id="716" name="ïś1iḍè"/>
            <p:cNvSpPr/>
            <p:nvPr/>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p>
          </p:txBody>
        </p:sp>
        <p:sp>
          <p:nvSpPr>
            <p:cNvPr id="717" name="îSlïdè"/>
            <p:cNvSpPr/>
            <p:nvPr/>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718" name="íšḻiḑe"/>
            <p:cNvSpPr/>
            <p:nvPr/>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p>
          </p:txBody>
        </p:sp>
        <p:sp>
          <p:nvSpPr>
            <p:cNvPr id="719" name="îšḷiďè"/>
            <p:cNvSpPr/>
            <p:nvPr/>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p>
          </p:txBody>
        </p:sp>
        <p:sp>
          <p:nvSpPr>
            <p:cNvPr id="720" name="ïṣ1îḓé"/>
            <p:cNvSpPr/>
            <p:nvPr/>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p>
          </p:txBody>
        </p:sp>
        <p:sp>
          <p:nvSpPr>
            <p:cNvPr id="721" name="îsļíḑè"/>
            <p:cNvSpPr/>
            <p:nvPr/>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p>
          </p:txBody>
        </p:sp>
        <p:sp>
          <p:nvSpPr>
            <p:cNvPr id="722" name="íṩ1ïdé"/>
            <p:cNvSpPr/>
            <p:nvPr/>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23" name="isliḑé"/>
            <p:cNvSpPr/>
            <p:nvPr/>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24" name="í$ḻïḋè"/>
            <p:cNvSpPr/>
            <p:nvPr/>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25" name="išlîḋé"/>
            <p:cNvSpPr/>
            <p:nvPr/>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26" name="íSlîḋe"/>
            <p:cNvSpPr/>
            <p:nvPr/>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p>
          </p:txBody>
        </p:sp>
        <p:sp>
          <p:nvSpPr>
            <p:cNvPr id="727" name="ïşlíḓe"/>
            <p:cNvSpPr/>
            <p:nvPr/>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p>
          </p:txBody>
        </p:sp>
        <p:sp>
          <p:nvSpPr>
            <p:cNvPr id="728" name="ïṧḷiďê"/>
            <p:cNvSpPr/>
            <p:nvPr/>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p>
          </p:txBody>
        </p:sp>
        <p:sp>
          <p:nvSpPr>
            <p:cNvPr id="729" name="iṧ1îḋé"/>
            <p:cNvSpPr/>
            <p:nvPr/>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p>
          </p:txBody>
        </p:sp>
        <p:sp>
          <p:nvSpPr>
            <p:cNvPr id="730" name="îşḻiḋê"/>
            <p:cNvSpPr/>
            <p:nvPr/>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p>
          </p:txBody>
        </p:sp>
        <p:sp>
          <p:nvSpPr>
            <p:cNvPr id="731" name="iŝlíḑe"/>
            <p:cNvSpPr/>
            <p:nvPr/>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p>
          </p:txBody>
        </p:sp>
        <p:sp>
          <p:nvSpPr>
            <p:cNvPr id="732" name="íṡḻídé"/>
            <p:cNvSpPr/>
            <p:nvPr/>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p>
          </p:txBody>
        </p:sp>
        <p:sp>
          <p:nvSpPr>
            <p:cNvPr id="733" name="íšľîḓè"/>
            <p:cNvSpPr/>
            <p:nvPr/>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p>
          </p:txBody>
        </p:sp>
        <p:sp>
          <p:nvSpPr>
            <p:cNvPr id="734" name="î$ḻíḍè"/>
            <p:cNvSpPr/>
            <p:nvPr/>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p>
          </p:txBody>
        </p:sp>
        <p:sp>
          <p:nvSpPr>
            <p:cNvPr id="735" name="îŝḷîďè"/>
            <p:cNvSpPr/>
            <p:nvPr/>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p>
          </p:txBody>
        </p:sp>
        <p:sp>
          <p:nvSpPr>
            <p:cNvPr id="736" name="iṧḷíḋe"/>
            <p:cNvSpPr/>
            <p:nvPr/>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p>
          </p:txBody>
        </p:sp>
        <p:sp>
          <p:nvSpPr>
            <p:cNvPr id="737" name="ïṣ1ïḑé"/>
            <p:cNvSpPr/>
            <p:nvPr/>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738" name="ïšļíḋè"/>
            <p:cNvSpPr/>
            <p:nvPr/>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p>
          </p:txBody>
        </p:sp>
        <p:sp>
          <p:nvSpPr>
            <p:cNvPr id="739" name="iş1îḑe"/>
            <p:cNvSpPr/>
            <p:nvPr/>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p>
          </p:txBody>
        </p:sp>
        <p:sp>
          <p:nvSpPr>
            <p:cNvPr id="740" name="ïṣlîḑê"/>
            <p:cNvSpPr/>
            <p:nvPr/>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p>
          </p:txBody>
        </p:sp>
        <p:sp>
          <p:nvSpPr>
            <p:cNvPr id="741" name="íšľîḋè"/>
            <p:cNvSpPr/>
            <p:nvPr/>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42" name="ïšļíḓe"/>
            <p:cNvSpPr/>
            <p:nvPr/>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743" name="íšļíḑé"/>
            <p:cNvSpPr/>
            <p:nvPr/>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p>
          </p:txBody>
        </p:sp>
        <p:sp>
          <p:nvSpPr>
            <p:cNvPr id="744" name="ï$ļíḍe"/>
            <p:cNvSpPr/>
            <p:nvPr/>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p>
          </p:txBody>
        </p:sp>
        <p:sp>
          <p:nvSpPr>
            <p:cNvPr id="745" name="iṥlîḑé"/>
            <p:cNvSpPr/>
            <p:nvPr/>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p>
          </p:txBody>
        </p:sp>
        <p:sp>
          <p:nvSpPr>
            <p:cNvPr id="746" name="ï$ḻiḑé"/>
            <p:cNvSpPr/>
            <p:nvPr/>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p>
          </p:txBody>
        </p:sp>
        <p:sp>
          <p:nvSpPr>
            <p:cNvPr id="747" name="iṡļíḑè"/>
            <p:cNvSpPr/>
            <p:nvPr/>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p>
          </p:txBody>
        </p:sp>
        <p:sp>
          <p:nvSpPr>
            <p:cNvPr id="748" name="ïš1ïḋé"/>
            <p:cNvSpPr/>
            <p:nvPr/>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p>
          </p:txBody>
        </p:sp>
        <p:sp>
          <p:nvSpPr>
            <p:cNvPr id="749" name="íṥ1îďè"/>
            <p:cNvSpPr/>
            <p:nvPr/>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750" name="íşļíḍé"/>
            <p:cNvSpPr/>
            <p:nvPr/>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p>
          </p:txBody>
        </p:sp>
        <p:sp>
          <p:nvSpPr>
            <p:cNvPr id="751" name="islïḑé"/>
            <p:cNvSpPr/>
            <p:nvPr/>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p>
          </p:txBody>
        </p:sp>
        <p:sp>
          <p:nvSpPr>
            <p:cNvPr id="752" name="isľiḋe"/>
            <p:cNvSpPr/>
            <p:nvPr/>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p>
          </p:txBody>
        </p:sp>
        <p:sp>
          <p:nvSpPr>
            <p:cNvPr id="753" name="ïṥḷiḍè"/>
            <p:cNvSpPr/>
            <p:nvPr/>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p>
          </p:txBody>
        </p:sp>
        <p:sp>
          <p:nvSpPr>
            <p:cNvPr id="754" name="ïślîḍe"/>
            <p:cNvSpPr/>
            <p:nvPr/>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p>
          </p:txBody>
        </p:sp>
        <p:sp>
          <p:nvSpPr>
            <p:cNvPr id="755" name="îslîḓé"/>
            <p:cNvSpPr/>
            <p:nvPr/>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p>
          </p:txBody>
        </p:sp>
        <p:sp>
          <p:nvSpPr>
            <p:cNvPr id="756" name="iṧḻïḋè"/>
            <p:cNvSpPr/>
            <p:nvPr/>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p>
          </p:txBody>
        </p:sp>
        <p:sp>
          <p:nvSpPr>
            <p:cNvPr id="757" name="işľîḓe"/>
            <p:cNvSpPr/>
            <p:nvPr/>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p>
          </p:txBody>
        </p:sp>
        <p:sp>
          <p:nvSpPr>
            <p:cNvPr id="758" name="íśľïḓè"/>
            <p:cNvSpPr/>
            <p:nvPr/>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p>
          </p:txBody>
        </p:sp>
        <p:sp>
          <p:nvSpPr>
            <p:cNvPr id="759" name="î$ľiḍe"/>
            <p:cNvSpPr/>
            <p:nvPr/>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p>
          </p:txBody>
        </p:sp>
        <p:sp>
          <p:nvSpPr>
            <p:cNvPr id="760" name="íṡḷiḋè"/>
            <p:cNvSpPr/>
            <p:nvPr/>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p>
          </p:txBody>
        </p:sp>
        <p:sp>
          <p:nvSpPr>
            <p:cNvPr id="761" name="íṣľïďè"/>
            <p:cNvSpPr/>
            <p:nvPr/>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p>
          </p:txBody>
        </p:sp>
        <p:sp>
          <p:nvSpPr>
            <p:cNvPr id="762" name="íSľiḋé"/>
            <p:cNvSpPr/>
            <p:nvPr/>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p>
          </p:txBody>
        </p:sp>
        <p:sp>
          <p:nvSpPr>
            <p:cNvPr id="763" name="iṩľiḍe"/>
            <p:cNvSpPr/>
            <p:nvPr/>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p>
          </p:txBody>
        </p:sp>
        <p:sp>
          <p:nvSpPr>
            <p:cNvPr id="764" name="îṧľïḓé"/>
            <p:cNvSpPr/>
            <p:nvPr/>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765" name="išľïḍê"/>
            <p:cNvSpPr/>
            <p:nvPr/>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766" name="îṧļïḋe"/>
            <p:cNvSpPr/>
            <p:nvPr/>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p>
          </p:txBody>
        </p:sp>
        <p:sp>
          <p:nvSpPr>
            <p:cNvPr id="767" name="ïṥlïḑé"/>
            <p:cNvSpPr/>
            <p:nvPr/>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p>
          </p:txBody>
        </p:sp>
        <p:sp>
          <p:nvSpPr>
            <p:cNvPr id="768" name="ïṥ1ïdê"/>
            <p:cNvSpPr/>
            <p:nvPr/>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p>
          </p:txBody>
        </p:sp>
        <p:sp>
          <p:nvSpPr>
            <p:cNvPr id="769" name="îṡ1îḑé"/>
            <p:cNvSpPr/>
            <p:nvPr/>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p>
          </p:txBody>
        </p:sp>
        <p:sp>
          <p:nvSpPr>
            <p:cNvPr id="770" name="iṡḷîḑe"/>
            <p:cNvSpPr/>
            <p:nvPr/>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771" name="ïṡļîḑè"/>
            <p:cNvSpPr/>
            <p:nvPr/>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p>
          </p:txBody>
        </p:sp>
        <p:sp>
          <p:nvSpPr>
            <p:cNvPr id="772" name="ï$líḋê"/>
            <p:cNvSpPr/>
            <p:nvPr/>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773" name="îṧlîdè"/>
            <p:cNvSpPr/>
            <p:nvPr/>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p>
          </p:txBody>
        </p:sp>
        <p:sp>
          <p:nvSpPr>
            <p:cNvPr id="774" name="îśḻíḋe"/>
            <p:cNvSpPr/>
            <p:nvPr/>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p>
          </p:txBody>
        </p:sp>
        <p:sp>
          <p:nvSpPr>
            <p:cNvPr id="775" name="ïSliḓê"/>
            <p:cNvSpPr/>
            <p:nvPr/>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p>
          </p:txBody>
        </p:sp>
        <p:sp>
          <p:nvSpPr>
            <p:cNvPr id="776" name="íSḻíďe"/>
            <p:cNvSpPr/>
            <p:nvPr/>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p>
          </p:txBody>
        </p:sp>
        <p:sp>
          <p:nvSpPr>
            <p:cNvPr id="777" name="iṡḻîdê"/>
            <p:cNvSpPr/>
            <p:nvPr/>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p>
          </p:txBody>
        </p:sp>
        <p:sp>
          <p:nvSpPr>
            <p:cNvPr id="778" name="îś1iďê"/>
            <p:cNvSpPr/>
            <p:nvPr/>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p>
          </p:txBody>
        </p:sp>
        <p:sp>
          <p:nvSpPr>
            <p:cNvPr id="779" name="íṡlídè"/>
            <p:cNvSpPr/>
            <p:nvPr/>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p>
          </p:txBody>
        </p:sp>
        <p:sp>
          <p:nvSpPr>
            <p:cNvPr id="780" name="iṩlîḓé"/>
            <p:cNvSpPr/>
            <p:nvPr/>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p>
          </p:txBody>
        </p:sp>
        <p:sp>
          <p:nvSpPr>
            <p:cNvPr id="781" name="iṧľíďè"/>
            <p:cNvSpPr/>
            <p:nvPr/>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782" name="ïṩḷiḓé"/>
            <p:cNvSpPr/>
            <p:nvPr/>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p>
          </p:txBody>
        </p:sp>
        <p:sp>
          <p:nvSpPr>
            <p:cNvPr id="783" name="íşlïḓê"/>
            <p:cNvSpPr/>
            <p:nvPr/>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784" name="iṣ1íďè"/>
            <p:cNvSpPr/>
            <p:nvPr/>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p>
          </p:txBody>
        </p:sp>
        <p:sp>
          <p:nvSpPr>
            <p:cNvPr id="785" name="îšḻîdè"/>
            <p:cNvSpPr/>
            <p:nvPr/>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p>
          </p:txBody>
        </p:sp>
        <p:sp>
          <p:nvSpPr>
            <p:cNvPr id="786" name="ïṩļíḑe"/>
            <p:cNvSpPr/>
            <p:nvPr/>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787" name="îṡlïdè"/>
            <p:cNvSpPr/>
            <p:nvPr/>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p>
          </p:txBody>
        </p:sp>
        <p:sp>
          <p:nvSpPr>
            <p:cNvPr id="788" name="i$ḷîde"/>
            <p:cNvSpPr/>
            <p:nvPr/>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p>
          </p:txBody>
        </p:sp>
        <p:sp>
          <p:nvSpPr>
            <p:cNvPr id="789" name="iśḷíḑe"/>
            <p:cNvSpPr/>
            <p:nvPr/>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p>
          </p:txBody>
        </p:sp>
        <p:sp>
          <p:nvSpPr>
            <p:cNvPr id="790" name="íṣḻïḓe"/>
            <p:cNvSpPr/>
            <p:nvPr/>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p>
          </p:txBody>
        </p:sp>
        <p:sp>
          <p:nvSpPr>
            <p:cNvPr id="791" name="íṩľíde"/>
            <p:cNvSpPr/>
            <p:nvPr/>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p>
          </p:txBody>
        </p:sp>
        <p:sp>
          <p:nvSpPr>
            <p:cNvPr id="792" name="işľiḍè"/>
            <p:cNvSpPr/>
            <p:nvPr/>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p>
          </p:txBody>
        </p:sp>
        <p:sp>
          <p:nvSpPr>
            <p:cNvPr id="793" name="îśľîḍé"/>
            <p:cNvSpPr/>
            <p:nvPr/>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p>
          </p:txBody>
        </p:sp>
        <p:sp>
          <p:nvSpPr>
            <p:cNvPr id="794" name="îşḷîḍé"/>
            <p:cNvSpPr/>
            <p:nvPr/>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795" name="îŝḻíďê"/>
            <p:cNvSpPr/>
            <p:nvPr/>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796" name="íṥļiḍé"/>
            <p:cNvSpPr/>
            <p:nvPr/>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p>
          </p:txBody>
        </p:sp>
        <p:sp>
          <p:nvSpPr>
            <p:cNvPr id="797" name="iṧ1íḍe"/>
            <p:cNvSpPr/>
            <p:nvPr/>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798" name="îsḻíḓè"/>
            <p:cNvSpPr/>
            <p:nvPr/>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799" name="îš1iḋê"/>
            <p:cNvSpPr/>
            <p:nvPr/>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p>
          </p:txBody>
        </p:sp>
        <p:sp>
          <p:nvSpPr>
            <p:cNvPr id="800" name="íṣ1îḑè"/>
            <p:cNvSpPr/>
            <p:nvPr/>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p>
          </p:txBody>
        </p:sp>
        <p:sp>
          <p:nvSpPr>
            <p:cNvPr id="801" name="íš1îḑê"/>
            <p:cNvSpPr/>
            <p:nvPr/>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p>
          </p:txBody>
        </p:sp>
        <p:sp>
          <p:nvSpPr>
            <p:cNvPr id="802" name="ïṩḷïḑé"/>
            <p:cNvSpPr/>
            <p:nvPr/>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803" name="î$ļîdè"/>
            <p:cNvSpPr/>
            <p:nvPr/>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804" name="ïś1îḑe"/>
            <p:cNvSpPr/>
            <p:nvPr/>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p>
          </p:txBody>
        </p:sp>
        <p:sp>
          <p:nvSpPr>
            <p:cNvPr id="805" name="îslîḓê"/>
            <p:cNvSpPr/>
            <p:nvPr/>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p>
          </p:txBody>
        </p:sp>
        <p:sp>
          <p:nvSpPr>
            <p:cNvPr id="806" name="îślîḋé"/>
            <p:cNvSpPr/>
            <p:nvPr/>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807" name="isľïḑè"/>
            <p:cNvSpPr/>
            <p:nvPr/>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808" name="íšlíḑe"/>
            <p:cNvSpPr/>
            <p:nvPr/>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809" name="íṧļïďe"/>
            <p:cNvSpPr/>
            <p:nvPr/>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p>
          </p:txBody>
        </p:sp>
        <p:sp>
          <p:nvSpPr>
            <p:cNvPr id="810" name="íṣliḓé"/>
            <p:cNvSpPr/>
            <p:nvPr/>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811" name="îSļiḋè"/>
            <p:cNvSpPr/>
            <p:nvPr/>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812" name="íş1ïḑê"/>
            <p:cNvSpPr/>
            <p:nvPr/>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813" name="ïšḷïḋé"/>
            <p:cNvSpPr/>
            <p:nvPr/>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814" name="ïśļiḍê"/>
            <p:cNvSpPr/>
            <p:nvPr/>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p>
          </p:txBody>
        </p:sp>
        <p:sp>
          <p:nvSpPr>
            <p:cNvPr id="815" name="iŝľiḋé"/>
            <p:cNvSpPr/>
            <p:nvPr/>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p>
          </p:txBody>
        </p:sp>
        <p:sp>
          <p:nvSpPr>
            <p:cNvPr id="816" name="íşlïḋé"/>
            <p:cNvSpPr/>
            <p:nvPr/>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p>
          </p:txBody>
        </p:sp>
        <p:sp>
          <p:nvSpPr>
            <p:cNvPr id="817" name="îṩļïďé"/>
            <p:cNvSpPr/>
            <p:nvPr/>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p>
          </p:txBody>
        </p:sp>
        <p:sp>
          <p:nvSpPr>
            <p:cNvPr id="818" name="iṩlïdê"/>
            <p:cNvSpPr/>
            <p:nvPr/>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p>
          </p:txBody>
        </p:sp>
        <p:sp>
          <p:nvSpPr>
            <p:cNvPr id="819" name="îṣľîḋé"/>
            <p:cNvSpPr/>
            <p:nvPr/>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p>
          </p:txBody>
        </p:sp>
        <p:sp>
          <p:nvSpPr>
            <p:cNvPr id="820" name="iṩḷîḓé"/>
            <p:cNvSpPr/>
            <p:nvPr/>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p>
          </p:txBody>
        </p:sp>
        <p:sp>
          <p:nvSpPr>
            <p:cNvPr id="821" name="ïṩḷíḑé"/>
            <p:cNvSpPr/>
            <p:nvPr/>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p>
          </p:txBody>
        </p:sp>
        <p:sp>
          <p:nvSpPr>
            <p:cNvPr id="822" name="îṧļidê"/>
            <p:cNvSpPr/>
            <p:nvPr/>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823" name="iṧlïḋê"/>
            <p:cNvSpPr/>
            <p:nvPr/>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p>
          </p:txBody>
        </p:sp>
        <p:sp>
          <p:nvSpPr>
            <p:cNvPr id="824" name="îṩļíḑé"/>
            <p:cNvSpPr/>
            <p:nvPr/>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p>
          </p:txBody>
        </p:sp>
        <p:sp>
          <p:nvSpPr>
            <p:cNvPr id="825" name="iṧļïďê"/>
            <p:cNvSpPr/>
            <p:nvPr/>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p>
          </p:txBody>
        </p:sp>
        <p:sp>
          <p:nvSpPr>
            <p:cNvPr id="826" name="ïšļïdé"/>
            <p:cNvSpPr/>
            <p:nvPr/>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p>
          </p:txBody>
        </p:sp>
        <p:sp>
          <p:nvSpPr>
            <p:cNvPr id="827" name="ïṥḻîḋè"/>
            <p:cNvSpPr/>
            <p:nvPr/>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p>
          </p:txBody>
        </p:sp>
        <p:sp>
          <p:nvSpPr>
            <p:cNvPr id="828" name="íṡľîḍè"/>
            <p:cNvSpPr/>
            <p:nvPr/>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p>
          </p:txBody>
        </p:sp>
        <p:sp>
          <p:nvSpPr>
            <p:cNvPr id="829" name="i$lïdè"/>
            <p:cNvSpPr/>
            <p:nvPr/>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p>
          </p:txBody>
        </p:sp>
        <p:sp>
          <p:nvSpPr>
            <p:cNvPr id="830" name="iṩḻiḋê"/>
            <p:cNvSpPr/>
            <p:nvPr/>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831" name="ïŝḻîḋè"/>
            <p:cNvSpPr/>
            <p:nvPr/>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2" name="isḷïďé"/>
            <p:cNvSpPr/>
            <p:nvPr/>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3" name="işlíde"/>
            <p:cNvSpPr/>
            <p:nvPr/>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4" name="iṣliḑê"/>
            <p:cNvSpPr/>
            <p:nvPr/>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5" name="îSḷiďé"/>
            <p:cNvSpPr/>
            <p:nvPr/>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6" name="îṧliḓé"/>
            <p:cNvSpPr/>
            <p:nvPr/>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p>
          </p:txBody>
        </p:sp>
        <p:sp>
          <p:nvSpPr>
            <p:cNvPr id="837" name="íŝ1iḍè"/>
            <p:cNvSpPr/>
            <p:nvPr/>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p>
          </p:txBody>
        </p:sp>
        <p:sp>
          <p:nvSpPr>
            <p:cNvPr id="838" name="îṩlîḑe"/>
            <p:cNvSpPr/>
            <p:nvPr/>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p>
          </p:txBody>
        </p:sp>
        <p:sp>
          <p:nvSpPr>
            <p:cNvPr id="839" name="iŝľïdé"/>
            <p:cNvSpPr/>
            <p:nvPr/>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p>
          </p:txBody>
        </p:sp>
        <p:sp>
          <p:nvSpPr>
            <p:cNvPr id="840" name="îṧ1ide"/>
            <p:cNvSpPr/>
            <p:nvPr/>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p>
          </p:txBody>
        </p:sp>
        <p:sp>
          <p:nvSpPr>
            <p:cNvPr id="841" name="íş1iḋe"/>
            <p:cNvSpPr/>
            <p:nvPr/>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p>
          </p:txBody>
        </p:sp>
        <p:sp>
          <p:nvSpPr>
            <p:cNvPr id="842" name="íSlîďè"/>
            <p:cNvSpPr/>
            <p:nvPr/>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p>
          </p:txBody>
        </p:sp>
        <p:sp>
          <p:nvSpPr>
            <p:cNvPr id="843" name="išlïḍe"/>
            <p:cNvSpPr/>
            <p:nvPr/>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p>
          </p:txBody>
        </p:sp>
        <p:sp>
          <p:nvSpPr>
            <p:cNvPr id="844" name="íşľîdè"/>
            <p:cNvSpPr/>
            <p:nvPr/>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845" name="išḷîḑê"/>
            <p:cNvSpPr/>
            <p:nvPr/>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846" name="íṡļïḓè"/>
            <p:cNvSpPr/>
            <p:nvPr/>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p>
          </p:txBody>
        </p:sp>
        <p:sp>
          <p:nvSpPr>
            <p:cNvPr id="847" name="íṥlíḋé"/>
            <p:cNvSpPr/>
            <p:nvPr/>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p>
          </p:txBody>
        </p:sp>
        <p:sp>
          <p:nvSpPr>
            <p:cNvPr id="848" name="ïṥḷiḑe"/>
            <p:cNvSpPr/>
            <p:nvPr/>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p>
          </p:txBody>
        </p:sp>
        <p:sp>
          <p:nvSpPr>
            <p:cNvPr id="849" name="íṥľïḑe"/>
            <p:cNvSpPr/>
            <p:nvPr/>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p>
          </p:txBody>
        </p:sp>
        <p:sp>
          <p:nvSpPr>
            <p:cNvPr id="850" name="ïṧḻïďè"/>
            <p:cNvSpPr/>
            <p:nvPr/>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p>
          </p:txBody>
        </p:sp>
        <p:sp>
          <p:nvSpPr>
            <p:cNvPr id="851" name="íṣļiḋé"/>
            <p:cNvSpPr/>
            <p:nvPr/>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p>
          </p:txBody>
        </p:sp>
        <p:sp>
          <p:nvSpPr>
            <p:cNvPr id="852" name="îślïḓê"/>
            <p:cNvSpPr/>
            <p:nvPr/>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p>
          </p:txBody>
        </p:sp>
        <p:sp>
          <p:nvSpPr>
            <p:cNvPr id="853" name="ï$ļïḓè"/>
            <p:cNvSpPr/>
            <p:nvPr/>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p>
          </p:txBody>
        </p:sp>
        <p:sp>
          <p:nvSpPr>
            <p:cNvPr id="854" name="î$lîḋê"/>
            <p:cNvSpPr/>
            <p:nvPr/>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p>
          </p:txBody>
        </p:sp>
        <p:sp>
          <p:nvSpPr>
            <p:cNvPr id="855" name="îṡḷîdê"/>
            <p:cNvSpPr/>
            <p:nvPr/>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p>
          </p:txBody>
        </p:sp>
        <p:sp>
          <p:nvSpPr>
            <p:cNvPr id="856" name="îṩļïďé"/>
            <p:cNvSpPr/>
            <p:nvPr/>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p>
          </p:txBody>
        </p:sp>
        <p:sp>
          <p:nvSpPr>
            <p:cNvPr id="857" name="iŝliḍè"/>
            <p:cNvSpPr/>
            <p:nvPr/>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p>
          </p:txBody>
        </p:sp>
        <p:sp>
          <p:nvSpPr>
            <p:cNvPr id="858" name="ïṣḻîdè"/>
            <p:cNvSpPr/>
            <p:nvPr/>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p>
          </p:txBody>
        </p:sp>
        <p:sp>
          <p:nvSpPr>
            <p:cNvPr id="859" name="íş1íḋé"/>
            <p:cNvSpPr/>
            <p:nvPr/>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p>
          </p:txBody>
        </p:sp>
        <p:sp>
          <p:nvSpPr>
            <p:cNvPr id="860" name="iṣlîḑê"/>
            <p:cNvSpPr/>
            <p:nvPr/>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p>
          </p:txBody>
        </p:sp>
        <p:sp>
          <p:nvSpPr>
            <p:cNvPr id="861" name="ïslíḋe"/>
            <p:cNvSpPr/>
            <p:nvPr/>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p>
          </p:txBody>
        </p:sp>
        <p:sp>
          <p:nvSpPr>
            <p:cNvPr id="862" name="işlïḓe"/>
            <p:cNvSpPr/>
            <p:nvPr/>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p>
          </p:txBody>
        </p:sp>
        <p:sp>
          <p:nvSpPr>
            <p:cNvPr id="863" name="iśḷïḑé"/>
            <p:cNvSpPr/>
            <p:nvPr/>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p>
          </p:txBody>
        </p:sp>
        <p:sp>
          <p:nvSpPr>
            <p:cNvPr id="864" name="iSlíde"/>
            <p:cNvSpPr/>
            <p:nvPr/>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p>
          </p:txBody>
        </p:sp>
        <p:sp>
          <p:nvSpPr>
            <p:cNvPr id="865" name="ïSlïḓè"/>
            <p:cNvSpPr/>
            <p:nvPr/>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866" name="íṩ1íḍe"/>
            <p:cNvSpPr/>
            <p:nvPr/>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867" name="iŝľîḍe"/>
            <p:cNvSpPr/>
            <p:nvPr/>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p>
          </p:txBody>
        </p:sp>
        <p:sp>
          <p:nvSpPr>
            <p:cNvPr id="868" name="iṥ1iḋê"/>
            <p:cNvSpPr/>
            <p:nvPr/>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p>
          </p:txBody>
        </p:sp>
        <p:sp>
          <p:nvSpPr>
            <p:cNvPr id="869" name="ïś1îḑé"/>
            <p:cNvSpPr/>
            <p:nvPr/>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p>
          </p:txBody>
        </p:sp>
        <p:sp>
          <p:nvSpPr>
            <p:cNvPr id="870" name="îṩ1iḑè"/>
            <p:cNvSpPr/>
            <p:nvPr/>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p>
          </p:txBody>
        </p:sp>
        <p:sp>
          <p:nvSpPr>
            <p:cNvPr id="871" name="iś1ïḑè"/>
            <p:cNvSpPr/>
            <p:nvPr/>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p>
          </p:txBody>
        </p:sp>
        <p:sp>
          <p:nvSpPr>
            <p:cNvPr id="872" name="ïṧḻîḓê"/>
            <p:cNvSpPr/>
            <p:nvPr/>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p>
          </p:txBody>
        </p:sp>
        <p:sp>
          <p:nvSpPr>
            <p:cNvPr id="873" name="íṩḷidé"/>
            <p:cNvSpPr/>
            <p:nvPr/>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p>
          </p:txBody>
        </p:sp>
        <p:sp>
          <p:nvSpPr>
            <p:cNvPr id="874" name="ïṣḷidé"/>
            <p:cNvSpPr/>
            <p:nvPr/>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p>
          </p:txBody>
        </p:sp>
        <p:sp>
          <p:nvSpPr>
            <p:cNvPr id="875" name="íṧḻíďê"/>
            <p:cNvSpPr/>
            <p:nvPr/>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p>
          </p:txBody>
        </p:sp>
        <p:sp>
          <p:nvSpPr>
            <p:cNvPr id="876" name="iş1iḑe"/>
            <p:cNvSpPr/>
            <p:nvPr/>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p>
          </p:txBody>
        </p:sp>
        <p:sp>
          <p:nvSpPr>
            <p:cNvPr id="877" name="ïśḻîḋé"/>
            <p:cNvSpPr/>
            <p:nvPr/>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p>
          </p:txBody>
        </p:sp>
        <p:sp>
          <p:nvSpPr>
            <p:cNvPr id="878" name="iśļiḋe"/>
            <p:cNvSpPr/>
            <p:nvPr/>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p>
          </p:txBody>
        </p:sp>
        <p:sp>
          <p:nvSpPr>
            <p:cNvPr id="879" name="ïśľíḋê"/>
            <p:cNvSpPr/>
            <p:nvPr/>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p>
          </p:txBody>
        </p:sp>
        <p:sp>
          <p:nvSpPr>
            <p:cNvPr id="880" name="îṧlîḑé"/>
            <p:cNvSpPr/>
            <p:nvPr/>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p>
          </p:txBody>
        </p:sp>
        <p:sp>
          <p:nvSpPr>
            <p:cNvPr id="881" name="íṩḻiḍé"/>
            <p:cNvSpPr/>
            <p:nvPr/>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p>
          </p:txBody>
        </p:sp>
        <p:sp>
          <p:nvSpPr>
            <p:cNvPr id="882" name="ïśḻîḋê"/>
            <p:cNvSpPr/>
            <p:nvPr/>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p>
          </p:txBody>
        </p:sp>
        <p:sp>
          <p:nvSpPr>
            <p:cNvPr id="883" name="î$ľiḋé"/>
            <p:cNvSpPr/>
            <p:nvPr/>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p>
          </p:txBody>
        </p:sp>
        <p:sp>
          <p:nvSpPr>
            <p:cNvPr id="884" name="ïśļïḑé"/>
            <p:cNvSpPr/>
            <p:nvPr/>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p>
          </p:txBody>
        </p:sp>
        <p:sp>
          <p:nvSpPr>
            <p:cNvPr id="885" name="îṧḷiḑé"/>
            <p:cNvSpPr/>
            <p:nvPr/>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p>
          </p:txBody>
        </p:sp>
        <p:sp>
          <p:nvSpPr>
            <p:cNvPr id="886" name="ïṡḷiḋé"/>
            <p:cNvSpPr/>
            <p:nvPr/>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p>
          </p:txBody>
        </p:sp>
        <p:sp>
          <p:nvSpPr>
            <p:cNvPr id="887" name="îşḻïḋê"/>
            <p:cNvSpPr/>
            <p:nvPr/>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p>
          </p:txBody>
        </p:sp>
        <p:sp>
          <p:nvSpPr>
            <p:cNvPr id="888" name="iś1íḓê"/>
            <p:cNvSpPr/>
            <p:nvPr/>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p>
          </p:txBody>
        </p:sp>
        <p:sp>
          <p:nvSpPr>
            <p:cNvPr id="889" name="íṡļîḓè"/>
            <p:cNvSpPr/>
            <p:nvPr/>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p>
          </p:txBody>
        </p:sp>
        <p:sp>
          <p:nvSpPr>
            <p:cNvPr id="890" name="iṣḻíḑé"/>
            <p:cNvSpPr/>
            <p:nvPr/>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p>
          </p:txBody>
        </p:sp>
        <p:sp>
          <p:nvSpPr>
            <p:cNvPr id="891" name="ïṣḷiďê"/>
            <p:cNvSpPr/>
            <p:nvPr/>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p>
          </p:txBody>
        </p:sp>
        <p:sp>
          <p:nvSpPr>
            <p:cNvPr id="892" name="iṡḻïḍe"/>
            <p:cNvSpPr/>
            <p:nvPr/>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p>
          </p:txBody>
        </p:sp>
        <p:sp>
          <p:nvSpPr>
            <p:cNvPr id="893" name="îş1îḓe"/>
            <p:cNvSpPr/>
            <p:nvPr/>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p>
          </p:txBody>
        </p:sp>
        <p:sp>
          <p:nvSpPr>
            <p:cNvPr id="894" name="îs1ïḓe"/>
            <p:cNvSpPr/>
            <p:nvPr/>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p>
          </p:txBody>
        </p:sp>
        <p:sp>
          <p:nvSpPr>
            <p:cNvPr id="895" name="i$ļídé"/>
            <p:cNvSpPr/>
            <p:nvPr/>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p>
          </p:txBody>
        </p:sp>
        <p:sp>
          <p:nvSpPr>
            <p:cNvPr id="896" name="îṡľídé"/>
            <p:cNvSpPr/>
            <p:nvPr/>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p>
          </p:txBody>
        </p:sp>
        <p:sp>
          <p:nvSpPr>
            <p:cNvPr id="897" name="íSľiḋè"/>
            <p:cNvSpPr/>
            <p:nvPr/>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p>
          </p:txBody>
        </p:sp>
        <p:sp>
          <p:nvSpPr>
            <p:cNvPr id="898" name="iṣḻíďé"/>
            <p:cNvSpPr/>
            <p:nvPr/>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p>
          </p:txBody>
        </p:sp>
        <p:sp>
          <p:nvSpPr>
            <p:cNvPr id="899" name="íŝḻîḓè"/>
            <p:cNvSpPr/>
            <p:nvPr/>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p>
          </p:txBody>
        </p:sp>
        <p:sp>
          <p:nvSpPr>
            <p:cNvPr id="900" name="ísḻîdé"/>
            <p:cNvSpPr/>
            <p:nvPr/>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p>
          </p:txBody>
        </p:sp>
        <p:sp>
          <p:nvSpPr>
            <p:cNvPr id="901" name="iṧľíde"/>
            <p:cNvSpPr/>
            <p:nvPr/>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p>
          </p:txBody>
        </p:sp>
        <p:sp>
          <p:nvSpPr>
            <p:cNvPr id="902" name="ïśḻíḋé"/>
            <p:cNvSpPr/>
            <p:nvPr/>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p>
          </p:txBody>
        </p:sp>
        <p:sp>
          <p:nvSpPr>
            <p:cNvPr id="903" name="ïśḷîḓe"/>
            <p:cNvSpPr/>
            <p:nvPr/>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p>
          </p:txBody>
        </p:sp>
        <p:sp>
          <p:nvSpPr>
            <p:cNvPr id="904" name="iṧlïdè"/>
            <p:cNvSpPr/>
            <p:nvPr/>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p>
          </p:txBody>
        </p:sp>
        <p:sp>
          <p:nvSpPr>
            <p:cNvPr id="905" name="îşļiďê"/>
            <p:cNvSpPr/>
            <p:nvPr/>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p>
          </p:txBody>
        </p:sp>
        <p:sp>
          <p:nvSpPr>
            <p:cNvPr id="906" name="îŝ1ïďè"/>
            <p:cNvSpPr/>
            <p:nvPr/>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p>
          </p:txBody>
        </p:sp>
        <p:sp>
          <p:nvSpPr>
            <p:cNvPr id="907" name="ïṣļïḑé"/>
            <p:cNvSpPr/>
            <p:nvPr/>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p>
          </p:txBody>
        </p:sp>
        <p:sp>
          <p:nvSpPr>
            <p:cNvPr id="908" name="ïṧľiďè"/>
            <p:cNvSpPr/>
            <p:nvPr/>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p>
          </p:txBody>
        </p:sp>
        <p:sp>
          <p:nvSpPr>
            <p:cNvPr id="909" name="îṧľïḍè"/>
            <p:cNvSpPr/>
            <p:nvPr/>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p>
          </p:txBody>
        </p:sp>
        <p:sp>
          <p:nvSpPr>
            <p:cNvPr id="910" name="íśḷiḑe"/>
            <p:cNvSpPr/>
            <p:nvPr/>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p>
          </p:txBody>
        </p:sp>
        <p:sp>
          <p:nvSpPr>
            <p:cNvPr id="911" name="íŝliḓé"/>
            <p:cNvSpPr/>
            <p:nvPr/>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p>
          </p:txBody>
        </p:sp>
        <p:sp>
          <p:nvSpPr>
            <p:cNvPr id="912" name="îSľíḓe"/>
            <p:cNvSpPr/>
            <p:nvPr/>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3" name="îś1îdè"/>
            <p:cNvSpPr/>
            <p:nvPr/>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4" name="ïṥ1iḍe"/>
            <p:cNvSpPr/>
            <p:nvPr/>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5" name="îšlïḍé"/>
            <p:cNvSpPr/>
            <p:nvPr/>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6" name="îšḻíḍê"/>
            <p:cNvSpPr/>
            <p:nvPr/>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7" name="íŝḻïḑê"/>
            <p:cNvSpPr/>
            <p:nvPr/>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8" name="i$1iḋe"/>
            <p:cNvSpPr/>
            <p:nvPr/>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p>
          </p:txBody>
        </p:sp>
        <p:sp>
          <p:nvSpPr>
            <p:cNvPr id="919" name="iṣ1íḋe"/>
            <p:cNvSpPr/>
            <p:nvPr/>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p>
          </p:txBody>
        </p:sp>
        <p:sp>
          <p:nvSpPr>
            <p:cNvPr id="920" name="iṡliḑê"/>
            <p:cNvSpPr/>
            <p:nvPr/>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p>
          </p:txBody>
        </p:sp>
        <p:sp>
          <p:nvSpPr>
            <p:cNvPr id="921" name="işḷîḓê"/>
            <p:cNvSpPr/>
            <p:nvPr/>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p>
          </p:txBody>
        </p:sp>
        <p:sp>
          <p:nvSpPr>
            <p:cNvPr id="922" name="isḻíḍè"/>
            <p:cNvSpPr/>
            <p:nvPr/>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p>
          </p:txBody>
        </p:sp>
        <p:sp>
          <p:nvSpPr>
            <p:cNvPr id="923" name="íş1ide"/>
            <p:cNvSpPr/>
            <p:nvPr/>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p>
          </p:txBody>
        </p:sp>
        <p:sp>
          <p:nvSpPr>
            <p:cNvPr id="924" name="iśḷiḓé"/>
            <p:cNvSpPr/>
            <p:nvPr/>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25" name="î$ļïḍe"/>
            <p:cNvSpPr/>
            <p:nvPr/>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p>
          </p:txBody>
        </p:sp>
        <p:sp>
          <p:nvSpPr>
            <p:cNvPr id="926" name="î$liḑé"/>
            <p:cNvSpPr/>
            <p:nvPr/>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p>
          </p:txBody>
        </p:sp>
        <p:sp>
          <p:nvSpPr>
            <p:cNvPr id="927" name="iśļide"/>
            <p:cNvSpPr/>
            <p:nvPr/>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p>
          </p:txBody>
        </p:sp>
        <p:sp>
          <p:nvSpPr>
            <p:cNvPr id="928" name="íṧlîḋe"/>
            <p:cNvSpPr/>
            <p:nvPr/>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p>
          </p:txBody>
        </p:sp>
        <p:sp>
          <p:nvSpPr>
            <p:cNvPr id="929" name="išliďe"/>
            <p:cNvSpPr/>
            <p:nvPr/>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p>
          </p:txBody>
        </p:sp>
        <p:sp>
          <p:nvSpPr>
            <p:cNvPr id="930" name="iSlïḋè"/>
            <p:cNvSpPr/>
            <p:nvPr/>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p>
          </p:txBody>
        </p:sp>
        <p:sp>
          <p:nvSpPr>
            <p:cNvPr id="931" name="iśḷîḓe"/>
            <p:cNvSpPr/>
            <p:nvPr/>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p>
          </p:txBody>
        </p:sp>
        <p:sp>
          <p:nvSpPr>
            <p:cNvPr id="932" name="í$ľídé"/>
            <p:cNvSpPr/>
            <p:nvPr/>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p>
          </p:txBody>
        </p:sp>
        <p:sp>
          <p:nvSpPr>
            <p:cNvPr id="933" name="îşlîďê"/>
            <p:cNvSpPr/>
            <p:nvPr/>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p>
          </p:txBody>
        </p:sp>
        <p:sp>
          <p:nvSpPr>
            <p:cNvPr id="934" name="íṧ1íḓé"/>
            <p:cNvSpPr/>
            <p:nvPr/>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p>
          </p:txBody>
        </p:sp>
        <p:sp>
          <p:nvSpPr>
            <p:cNvPr id="935" name="ïṥlïďé"/>
            <p:cNvSpPr/>
            <p:nvPr/>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p>
          </p:txBody>
        </p:sp>
        <p:sp>
          <p:nvSpPr>
            <p:cNvPr id="936" name="í$1iďê"/>
            <p:cNvSpPr/>
            <p:nvPr/>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p>
          </p:txBody>
        </p:sp>
        <p:sp>
          <p:nvSpPr>
            <p:cNvPr id="937" name="íṥ1iḍê"/>
            <p:cNvSpPr/>
            <p:nvPr/>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p>
          </p:txBody>
        </p:sp>
        <p:sp>
          <p:nvSpPr>
            <p:cNvPr id="938" name="ïŝḷîḍê"/>
            <p:cNvSpPr/>
            <p:nvPr/>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p>
          </p:txBody>
        </p:sp>
        <p:sp>
          <p:nvSpPr>
            <p:cNvPr id="939" name="iṣ1íḍè"/>
            <p:cNvSpPr/>
            <p:nvPr/>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p>
          </p:txBody>
        </p:sp>
        <p:sp>
          <p:nvSpPr>
            <p:cNvPr id="940" name="íṧļiďe"/>
            <p:cNvSpPr/>
            <p:nvPr/>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p>
          </p:txBody>
        </p:sp>
        <p:sp>
          <p:nvSpPr>
            <p:cNvPr id="941" name="ïśľîdê"/>
            <p:cNvSpPr/>
            <p:nvPr/>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p>
          </p:txBody>
        </p:sp>
        <p:sp>
          <p:nvSpPr>
            <p:cNvPr id="942" name="îṥ1íḋè"/>
            <p:cNvSpPr/>
            <p:nvPr/>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p>
          </p:txBody>
        </p:sp>
        <p:sp>
          <p:nvSpPr>
            <p:cNvPr id="943" name="ïśľiḑe"/>
            <p:cNvSpPr/>
            <p:nvPr/>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p>
          </p:txBody>
        </p:sp>
        <p:sp>
          <p:nvSpPr>
            <p:cNvPr id="944" name="î$1íďè"/>
            <p:cNvSpPr/>
            <p:nvPr/>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p>
          </p:txBody>
        </p:sp>
        <p:sp>
          <p:nvSpPr>
            <p:cNvPr id="945" name="îşḷîḑe"/>
            <p:cNvSpPr/>
            <p:nvPr/>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p>
          </p:txBody>
        </p:sp>
        <p:sp>
          <p:nvSpPr>
            <p:cNvPr id="946" name="iSļïḍe"/>
            <p:cNvSpPr/>
            <p:nvPr/>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p>
          </p:txBody>
        </p:sp>
        <p:sp>
          <p:nvSpPr>
            <p:cNvPr id="947" name="î$ļïďê"/>
            <p:cNvSpPr/>
            <p:nvPr/>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p>
          </p:txBody>
        </p:sp>
        <p:sp>
          <p:nvSpPr>
            <p:cNvPr id="948" name="ïṥlîḑe"/>
            <p:cNvSpPr/>
            <p:nvPr/>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p>
          </p:txBody>
        </p:sp>
        <p:sp>
          <p:nvSpPr>
            <p:cNvPr id="949" name="ïślîḑé"/>
            <p:cNvSpPr/>
            <p:nvPr/>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p>
          </p:txBody>
        </p:sp>
        <p:sp>
          <p:nvSpPr>
            <p:cNvPr id="950" name="iṩľiḋe"/>
            <p:cNvSpPr/>
            <p:nvPr/>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p>
          </p:txBody>
        </p:sp>
        <p:sp>
          <p:nvSpPr>
            <p:cNvPr id="951" name="išḻïḋe"/>
            <p:cNvSpPr/>
            <p:nvPr/>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p>
          </p:txBody>
        </p:sp>
        <p:sp>
          <p:nvSpPr>
            <p:cNvPr id="952" name="ïSḻíḑè"/>
            <p:cNvSpPr/>
            <p:nvPr/>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p>
          </p:txBody>
        </p:sp>
        <p:sp>
          <p:nvSpPr>
            <p:cNvPr id="953" name="îṧliḍè"/>
            <p:cNvSpPr/>
            <p:nvPr/>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p>
          </p:txBody>
        </p:sp>
        <p:sp>
          <p:nvSpPr>
            <p:cNvPr id="954" name="ïšľîḓè"/>
            <p:cNvSpPr/>
            <p:nvPr/>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p>
          </p:txBody>
        </p:sp>
        <p:sp>
          <p:nvSpPr>
            <p:cNvPr id="955" name="ïṣļïḑê"/>
            <p:cNvSpPr/>
            <p:nvPr/>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p>
          </p:txBody>
        </p:sp>
        <p:sp>
          <p:nvSpPr>
            <p:cNvPr id="956" name="îṩḻíďe"/>
            <p:cNvSpPr/>
            <p:nvPr/>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p>
          </p:txBody>
        </p:sp>
        <p:sp>
          <p:nvSpPr>
            <p:cNvPr id="957" name="ïşliḓé"/>
            <p:cNvSpPr/>
            <p:nvPr/>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p>
          </p:txBody>
        </p:sp>
        <p:sp>
          <p:nvSpPr>
            <p:cNvPr id="958" name="íŝḷïďê"/>
            <p:cNvSpPr/>
            <p:nvPr/>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p>
          </p:txBody>
        </p:sp>
        <p:sp>
          <p:nvSpPr>
            <p:cNvPr id="959" name="íş1ïdè"/>
            <p:cNvSpPr/>
            <p:nvPr/>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p>
          </p:txBody>
        </p:sp>
        <p:sp>
          <p:nvSpPr>
            <p:cNvPr id="960" name="ïṥlîdé"/>
            <p:cNvSpPr/>
            <p:nvPr/>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p>
          </p:txBody>
        </p:sp>
        <p:sp>
          <p:nvSpPr>
            <p:cNvPr id="961" name="îşľiḑe"/>
            <p:cNvSpPr/>
            <p:nvPr/>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p>
          </p:txBody>
        </p:sp>
        <p:sp>
          <p:nvSpPr>
            <p:cNvPr id="962" name="íśḻiḋè"/>
            <p:cNvSpPr/>
            <p:nvPr/>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p>
          </p:txBody>
        </p:sp>
        <p:sp>
          <p:nvSpPr>
            <p:cNvPr id="963" name="iš1ïḋe"/>
            <p:cNvSpPr/>
            <p:nvPr/>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p>
          </p:txBody>
        </p:sp>
        <p:sp>
          <p:nvSpPr>
            <p:cNvPr id="964" name="îşļïḍé"/>
            <p:cNvSpPr/>
            <p:nvPr/>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p>
          </p:txBody>
        </p:sp>
        <p:sp>
          <p:nvSpPr>
            <p:cNvPr id="965" name="ïŝlîḍè"/>
            <p:cNvSpPr/>
            <p:nvPr/>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p>
          </p:txBody>
        </p:sp>
        <p:sp>
          <p:nvSpPr>
            <p:cNvPr id="966" name="ïṩḻîḍê"/>
            <p:cNvSpPr/>
            <p:nvPr/>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p>
          </p:txBody>
        </p:sp>
        <p:sp>
          <p:nvSpPr>
            <p:cNvPr id="967" name="iś1îḑé"/>
            <p:cNvSpPr/>
            <p:nvPr/>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p>
          </p:txBody>
        </p:sp>
        <p:sp>
          <p:nvSpPr>
            <p:cNvPr id="968" name="ï$ḷîḓe"/>
            <p:cNvSpPr/>
            <p:nvPr/>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p>
          </p:txBody>
        </p:sp>
        <p:sp>
          <p:nvSpPr>
            <p:cNvPr id="969" name="işliďe"/>
            <p:cNvSpPr/>
            <p:nvPr/>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p>
          </p:txBody>
        </p:sp>
        <p:sp>
          <p:nvSpPr>
            <p:cNvPr id="970" name="išľîḋê"/>
            <p:cNvSpPr/>
            <p:nvPr/>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p>
          </p:txBody>
        </p:sp>
        <p:sp>
          <p:nvSpPr>
            <p:cNvPr id="971" name="ïṣḻîḍê"/>
            <p:cNvSpPr/>
            <p:nvPr/>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p>
          </p:txBody>
        </p:sp>
        <p:sp>
          <p:nvSpPr>
            <p:cNvPr id="972" name="îṣľíḓê"/>
            <p:cNvSpPr/>
            <p:nvPr/>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p>
          </p:txBody>
        </p:sp>
        <p:sp>
          <p:nvSpPr>
            <p:cNvPr id="973" name="ïşľïďe"/>
            <p:cNvSpPr/>
            <p:nvPr/>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p>
          </p:txBody>
        </p:sp>
        <p:sp>
          <p:nvSpPr>
            <p:cNvPr id="974" name="ï$ḻiḑè"/>
            <p:cNvSpPr/>
            <p:nvPr/>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p>
          </p:txBody>
        </p:sp>
        <p:sp>
          <p:nvSpPr>
            <p:cNvPr id="975" name="iṣľïḑé"/>
            <p:cNvSpPr/>
            <p:nvPr/>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p>
          </p:txBody>
        </p:sp>
        <p:sp>
          <p:nvSpPr>
            <p:cNvPr id="976" name="íṥ1iḓê"/>
            <p:cNvSpPr/>
            <p:nvPr/>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p>
          </p:txBody>
        </p:sp>
        <p:sp>
          <p:nvSpPr>
            <p:cNvPr id="977" name="ïśḻïde"/>
            <p:cNvSpPr/>
            <p:nvPr/>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p>
          </p:txBody>
        </p:sp>
        <p:sp>
          <p:nvSpPr>
            <p:cNvPr id="978" name="îšlíḋe"/>
            <p:cNvSpPr/>
            <p:nvPr/>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p>
          </p:txBody>
        </p:sp>
        <p:sp>
          <p:nvSpPr>
            <p:cNvPr id="979" name="îsḻiḓê"/>
            <p:cNvSpPr/>
            <p:nvPr/>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p>
          </p:txBody>
        </p:sp>
        <p:sp>
          <p:nvSpPr>
            <p:cNvPr id="980" name="ïṧ1íḑé"/>
            <p:cNvSpPr/>
            <p:nvPr/>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p>
          </p:txBody>
        </p:sp>
        <p:sp>
          <p:nvSpPr>
            <p:cNvPr id="981" name="íṧ1ïďe"/>
            <p:cNvSpPr/>
            <p:nvPr/>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p>
          </p:txBody>
        </p:sp>
        <p:sp>
          <p:nvSpPr>
            <p:cNvPr id="982" name="ïŝlídé"/>
            <p:cNvSpPr/>
            <p:nvPr/>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p>
          </p:txBody>
        </p:sp>
        <p:sp>
          <p:nvSpPr>
            <p:cNvPr id="983" name="íş1ïḋé"/>
            <p:cNvSpPr/>
            <p:nvPr/>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p>
          </p:txBody>
        </p:sp>
      </p:grpSp>
      <p:sp>
        <p:nvSpPr>
          <p:cNvPr id="20" name="标题 1"/>
          <p:cNvSpPr>
            <a:spLocks noGrp="1"/>
          </p:cNvSpPr>
          <p:nvPr userDrawn="1">
            <p:ph type="title"/>
          </p:nvPr>
        </p:nvSpPr>
        <p:spPr>
          <a:xfrm>
            <a:off x="6096000" y="2981325"/>
            <a:ext cx="5419185" cy="895350"/>
          </a:xfrm>
        </p:spPr>
        <p:txBody>
          <a:bodyPr anchor="b">
            <a:normAutofit/>
          </a:bodyPr>
          <a:lstStyle>
            <a:lvl1pPr algn="l">
              <a:defRPr sz="2400" b="1">
                <a:solidFill>
                  <a:schemeClr val="accent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7116" y="3876675"/>
            <a:ext cx="5419185" cy="1015623"/>
          </a:xfrm>
        </p:spPr>
        <p:txBody>
          <a:bodyPr anchor="t">
            <a:normAutofit/>
          </a:bodyPr>
          <a:lstStyle>
            <a:lvl1pPr marL="0" indent="0" algn="l">
              <a:lnSpc>
                <a:spcPct val="150000"/>
              </a:lnSpc>
              <a:spcBef>
                <a:spcPts val="0"/>
              </a:spcBef>
              <a:buNone/>
              <a:defRPr sz="11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673100" y="3520168"/>
            <a:ext cx="10845798" cy="1621509"/>
          </a:xfrm>
        </p:spPr>
        <p:txBody>
          <a:bodyPr anchor="b">
            <a:normAutofit/>
          </a:bodyPr>
          <a:lstStyle>
            <a:lvl1pPr marL="0" indent="0" algn="ctr">
              <a:buFont typeface="Arial" panose="020B0604020202020204" pitchFamily="34" charset="0"/>
              <a:buNone/>
              <a:defRPr sz="3200">
                <a:solidFill>
                  <a:schemeClr val="tx2"/>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5826404"/>
            <a:ext cx="10845798" cy="310871"/>
          </a:xfrm>
        </p:spPr>
        <p:txBody>
          <a:bodyPr vert="horz" lIns="91440" tIns="45720" rIns="91440" bIns="45720" rtlCol="0">
            <a:normAutofit/>
          </a:bodyPr>
          <a:lstStyle>
            <a:lvl1pPr marL="0" indent="0" algn="ctr">
              <a:buNone/>
              <a:defRPr lang="zh-CN" altLang="en-US" sz="1400" smtClean="0">
                <a:solidFill>
                  <a:schemeClr val="tx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673102" y="5530133"/>
            <a:ext cx="10845798" cy="296271"/>
          </a:xfrm>
        </p:spPr>
        <p:txBody>
          <a:bodyPr vert="horz" anchor="ctr">
            <a:noAutofit/>
          </a:bodyPr>
          <a:lstStyle>
            <a:lvl1pPr marL="0" indent="0" algn="ctr">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7" name="任意多边形: 形状 6"/>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blipFill>
            <a:blip r:embed="rId2"/>
            <a:srcRect/>
            <a:stretch>
              <a:fillRect t="-41106" b="-88712"/>
            </a:stretch>
          </a:bli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zh-CN" altLang="en-US"/>
          </a:p>
        </p:txBody>
      </p:sp>
      <p:sp>
        <p:nvSpPr>
          <p:cNvPr id="8" name="Freeform 13_1"/>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gradFill>
            <a:gsLst>
              <a:gs pos="0">
                <a:schemeClr val="accent1">
                  <a:alpha val="20000"/>
                </a:schemeClr>
              </a:gs>
              <a:gs pos="100000">
                <a:schemeClr val="accent1">
                  <a:alpha val="0"/>
                </a:schemeClr>
              </a:gs>
            </a:gsLst>
            <a:lin ang="16200000" scaled="1"/>
          </a:gradFill>
          <a:ln>
            <a:noFill/>
          </a:ln>
        </p:spPr>
        <p:txBody>
          <a:bodyPr vert="horz" wrap="square" lIns="91440" tIns="45720" rIns="91440" bIns="45720" numCol="1" anchor="t" anchorCtr="0" compatLnSpc="1">
            <a:noAutofit/>
          </a:bodyPr>
          <a:lstStyle/>
          <a:p>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6" name="矩形 5"/>
          <p:cNvSpPr/>
          <p:nvPr userDrawn="1"/>
        </p:nvSpPr>
        <p:spPr>
          <a:xfrm>
            <a:off x="0" y="460363"/>
            <a:ext cx="12192000" cy="66635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7" name="文本占位符 10"/>
          <p:cNvSpPr>
            <a:spLocks noGrp="1"/>
          </p:cNvSpPr>
          <p:nvPr>
            <p:ph type="body" sz="quarter" idx="10"/>
          </p:nvPr>
        </p:nvSpPr>
        <p:spPr>
          <a:xfrm>
            <a:off x="349959" y="578098"/>
            <a:ext cx="4308872" cy="430887"/>
          </a:xfrm>
        </p:spPr>
        <p:txBody>
          <a:bodyPr wrap="none" lIns="0" tIns="0" rIns="0" bIns="0">
            <a:spAutoFit/>
          </a:bodyPr>
          <a:lstStyle>
            <a:lvl1pPr marL="0" indent="0">
              <a:lnSpc>
                <a:spcPct val="100000"/>
              </a:lnSpc>
              <a:spcBef>
                <a:spcPts val="0"/>
              </a:spcBef>
              <a:buFontTx/>
              <a:buNone/>
              <a:defRPr sz="2800">
                <a:solidFill>
                  <a:schemeClr val="bg1"/>
                </a:solidFill>
                <a:latin typeface="思源黑体 CN Medium" panose="020B0600000000000000" pitchFamily="34" charset="-122"/>
                <a:ea typeface="思源黑体 CN Medium" panose="020B0600000000000000" pitchFamily="34" charset="-122"/>
              </a:defRPr>
            </a:lvl1pPr>
          </a:lstStyle>
          <a:p>
            <a:pPr lvl="0"/>
            <a:r>
              <a:rPr lang="zh-CN" altLang="en-US" dirty="0"/>
              <a:t>单击此处编辑母版文本样式</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1.xml"/><Relationship Id="rId5" Type="http://schemas.openxmlformats.org/officeDocument/2006/relationships/themeOverride" Target="../theme/themeOverride1.xml"/><Relationship Id="rId4" Type="http://schemas.openxmlformats.org/officeDocument/2006/relationships/tags" Target="../tags/tag3.xml"/><Relationship Id="rId3" Type="http://schemas.openxmlformats.org/officeDocument/2006/relationships/image" Target="../media/image2.emf"/><Relationship Id="rId2" Type="http://schemas.openxmlformats.org/officeDocument/2006/relationships/oleObject" Target="../embeddings/oleObject1.bin"/><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4.xml"/><Relationship Id="rId3" Type="http://schemas.openxmlformats.org/officeDocument/2006/relationships/tags" Target="../tags/tag6.xml"/><Relationship Id="rId2" Type="http://schemas.openxmlformats.org/officeDocument/2006/relationships/image" Target="../media/image5.png"/><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tags" Target="../tags/tag9.xml"/></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ags" Target="../tags/tag11.xml"/></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4.xml"/><Relationship Id="rId2" Type="http://schemas.openxmlformats.org/officeDocument/2006/relationships/image" Target="../media/image6.jpeg"/><Relationship Id="rId1" Type="http://schemas.openxmlformats.org/officeDocument/2006/relationships/tags" Target="../tags/tag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4.xml"/><Relationship Id="rId2" Type="http://schemas.openxmlformats.org/officeDocument/2006/relationships/image" Target="../media/image7.png"/><Relationship Id="rId1" Type="http://schemas.openxmlformats.org/officeDocument/2006/relationships/tags" Target="../tags/tag14.xml"/></Relationships>
</file>

<file path=ppt/slides/_rels/slide19.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6.xml"/><Relationship Id="rId5" Type="http://schemas.openxmlformats.org/officeDocument/2006/relationships/themeOverride" Target="../theme/themeOverride4.xml"/><Relationship Id="rId4" Type="http://schemas.openxmlformats.org/officeDocument/2006/relationships/tags" Target="../tags/tag16.xml"/><Relationship Id="rId3" Type="http://schemas.openxmlformats.org/officeDocument/2006/relationships/image" Target="../media/image2.emf"/><Relationship Id="rId2" Type="http://schemas.openxmlformats.org/officeDocument/2006/relationships/oleObject" Target="../embeddings/oleObject2.bin"/><Relationship Id="rId1" Type="http://schemas.openxmlformats.org/officeDocument/2006/relationships/tags" Target="../tags/tag15.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4.xml"/><Relationship Id="rId2" Type="http://schemas.openxmlformats.org/officeDocument/2006/relationships/image" Target="../media/image4.jpeg"/><Relationship Id="rId1" Type="http://schemas.openxmlformats.org/officeDocument/2006/relationships/image" Target="../media/image3.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0"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a:xfrm>
            <a:off x="673099" y="4863718"/>
            <a:ext cx="10845800" cy="558799"/>
          </a:xfrm>
        </p:spPr>
        <p:txBody>
          <a:bodyPr anchor="ctr">
            <a:normAutofit/>
          </a:bodyPr>
          <a:lstStyle/>
          <a:p>
            <a:r>
              <a:rPr lang="zh-CN" sz="1800" b="1" spc="300" dirty="0">
                <a:latin typeface="+mn-ea"/>
              </a:rPr>
              <a:t>珠海市中小企业服务中心</a:t>
            </a:r>
            <a:endParaRPr lang="zh-CN" sz="1800" b="1" spc="300" dirty="0">
              <a:latin typeface="+mn-ea"/>
            </a:endParaRPr>
          </a:p>
        </p:txBody>
      </p:sp>
      <p:sp>
        <p:nvSpPr>
          <p:cNvPr id="4" name="标题 3"/>
          <p:cNvSpPr>
            <a:spLocks noGrp="1"/>
          </p:cNvSpPr>
          <p:nvPr>
            <p:ph type="ctrTitle"/>
          </p:nvPr>
        </p:nvSpPr>
        <p:spPr>
          <a:xfrm>
            <a:off x="673099" y="2739340"/>
            <a:ext cx="10845800" cy="1900562"/>
          </a:xfrm>
        </p:spPr>
        <p:txBody>
          <a:bodyPr>
            <a:normAutofit/>
          </a:bodyPr>
          <a:lstStyle/>
          <a:p>
            <a:r>
              <a:rPr lang="zh-CN" altLang="en-US" sz="3600" dirty="0">
                <a:solidFill>
                  <a:schemeClr val="tx1">
                    <a:lumMod val="75000"/>
                    <a:lumOff val="25000"/>
                  </a:schemeClr>
                </a:solidFill>
                <a:latin typeface="微软雅黑" panose="020B0503020204020204" pitchFamily="34" charset="-122"/>
                <a:ea typeface="微软雅黑" panose="020B0503020204020204" pitchFamily="34" charset="-122"/>
              </a:rPr>
              <a:t>珠海市</a:t>
            </a:r>
            <a:r>
              <a:rPr lang="en-US" altLang="zh-CN" sz="36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3600" dirty="0">
                <a:solidFill>
                  <a:schemeClr val="tx1">
                    <a:lumMod val="75000"/>
                    <a:lumOff val="25000"/>
                  </a:schemeClr>
                </a:solidFill>
                <a:latin typeface="微软雅黑" panose="020B0503020204020204" pitchFamily="34" charset="-122"/>
                <a:ea typeface="微软雅黑" panose="020B0503020204020204" pitchFamily="34" charset="-122"/>
              </a:rPr>
              <a:t>四位一体</a:t>
            </a:r>
            <a:r>
              <a:rPr lang="en-US" altLang="zh-CN" sz="36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3600" dirty="0">
                <a:solidFill>
                  <a:schemeClr val="tx1">
                    <a:lumMod val="75000"/>
                    <a:lumOff val="25000"/>
                  </a:schemeClr>
                </a:solidFill>
                <a:latin typeface="微软雅黑" panose="020B0503020204020204" pitchFamily="34" charset="-122"/>
                <a:ea typeface="微软雅黑" panose="020B0503020204020204" pitchFamily="34" charset="-122"/>
              </a:rPr>
              <a:t>融资平台介绍</a:t>
            </a:r>
            <a:endParaRPr lang="zh-CN" altLang="en-US" sz="3600" b="0" dirty="0">
              <a:latin typeface="Arial Black" panose="020B0A04020102020204" pitchFamily="34" charset="0"/>
            </a:endParaRPr>
          </a:p>
        </p:txBody>
      </p:sp>
      <p:sp>
        <p:nvSpPr>
          <p:cNvPr id="6" name="文本占位符 5"/>
          <p:cNvSpPr>
            <a:spLocks noGrp="1"/>
          </p:cNvSpPr>
          <p:nvPr>
            <p:ph type="body" sz="quarter" idx="10"/>
          </p:nvPr>
        </p:nvSpPr>
        <p:spPr>
          <a:xfrm>
            <a:off x="673100" y="5421630"/>
            <a:ext cx="10845800" cy="405130"/>
          </a:xfrm>
        </p:spPr>
        <p:txBody>
          <a:bodyPr/>
          <a:lstStyle/>
          <a:p>
            <a:r>
              <a:rPr lang="zh-CN" altLang="en-US" spc="300" dirty="0">
                <a:solidFill>
                  <a:schemeClr val="bg2">
                    <a:lumMod val="10000"/>
                  </a:schemeClr>
                </a:solidFill>
              </a:rPr>
              <a:t>李  仲  </a:t>
            </a:r>
            <a:endParaRPr lang="en-US" altLang="zh-CN" spc="300" dirty="0">
              <a:solidFill>
                <a:schemeClr val="bg2">
                  <a:lumMod val="10000"/>
                </a:schemeClr>
              </a:solidFill>
            </a:endParaRPr>
          </a:p>
        </p:txBody>
      </p:sp>
      <p:sp>
        <p:nvSpPr>
          <p:cNvPr id="7" name="文本占位符 6"/>
          <p:cNvSpPr>
            <a:spLocks noGrp="1"/>
          </p:cNvSpPr>
          <p:nvPr>
            <p:ph type="body" sz="quarter" idx="11"/>
          </p:nvPr>
        </p:nvSpPr>
        <p:spPr>
          <a:xfrm>
            <a:off x="673100" y="5826760"/>
            <a:ext cx="10845800" cy="287020"/>
          </a:xfrm>
        </p:spPr>
        <p:txBody>
          <a:bodyPr/>
          <a:lstStyle/>
          <a:p>
            <a:r>
              <a:rPr lang="en-US" altLang="zh-CN" spc="300" dirty="0">
                <a:solidFill>
                  <a:schemeClr val="bg2">
                    <a:lumMod val="10000"/>
                  </a:schemeClr>
                </a:solidFill>
              </a:rPr>
              <a:t>2020/07/10</a:t>
            </a:r>
            <a:endParaRPr lang="en-US" altLang="en-US" spc="300" dirty="0">
              <a:solidFill>
                <a:schemeClr val="bg2">
                  <a:lumMod val="10000"/>
                </a:schemeClr>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三 、（</a:t>
            </a:r>
            <a:r>
              <a:rPr lang="en-US" altLang="zh-CN" dirty="0"/>
              <a:t>1</a:t>
            </a:r>
            <a:r>
              <a:rPr lang="zh-CN" altLang="en-US" dirty="0"/>
              <a:t>）</a:t>
            </a:r>
            <a:r>
              <a:rPr lang="zh-CN" altLang="en-US" dirty="0"/>
              <a:t>支小贷业务</a:t>
            </a:r>
            <a:endParaRPr lang="zh-CN" altLang="en-US" dirty="0"/>
          </a:p>
        </p:txBody>
      </p:sp>
      <p:grpSp>
        <p:nvGrpSpPr>
          <p:cNvPr id="3" name="#35534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5375564" y="1464061"/>
            <a:ext cx="6293150" cy="4732549"/>
            <a:chOff x="5360857" y="1700619"/>
            <a:chExt cx="6293150" cy="4732549"/>
          </a:xfrm>
        </p:grpSpPr>
        <p:sp>
          <p:nvSpPr>
            <p:cNvPr id="5" name="íṥlíde"/>
            <p:cNvSpPr txBox="1"/>
            <p:nvPr/>
          </p:nvSpPr>
          <p:spPr>
            <a:xfrm>
              <a:off x="5443984" y="1700619"/>
              <a:ext cx="6074916" cy="883254"/>
            </a:xfrm>
            <a:prstGeom prst="rect">
              <a:avLst/>
            </a:prstGeom>
            <a:noFill/>
            <a:ln>
              <a:noFill/>
            </a:ln>
          </p:spPr>
          <p:txBody>
            <a:bodyPr wrap="square" lIns="90000" tIns="46800" rIns="90000" bIns="46800" anchor="b" anchorCtr="0">
              <a:noAutofit/>
            </a:bodyPr>
            <a:lstStyle/>
            <a:p>
              <a:pPr lvl="1">
                <a:buSzPct val="25000"/>
              </a:pPr>
              <a:r>
                <a:rPr lang="zh-CN" altLang="en-US" sz="2000" b="1" dirty="0">
                  <a:solidFill>
                    <a:srgbClr val="C00000"/>
                  </a:solidFill>
                </a:rPr>
                <a:t>合作银行：珠海农商行、华润银行、南屏村镇银行、横琴村镇银行</a:t>
              </a:r>
              <a:endParaRPr lang="zh-CN" altLang="en-US" sz="2000" b="1" dirty="0">
                <a:solidFill>
                  <a:srgbClr val="C00000"/>
                </a:solidFill>
              </a:endParaRPr>
            </a:p>
          </p:txBody>
        </p:sp>
        <p:sp>
          <p:nvSpPr>
            <p:cNvPr id="6" name="ïślïḓé"/>
            <p:cNvSpPr txBox="1"/>
            <p:nvPr/>
          </p:nvSpPr>
          <p:spPr>
            <a:xfrm>
              <a:off x="5360857" y="2883782"/>
              <a:ext cx="6293150" cy="468990"/>
            </a:xfrm>
            <a:prstGeom prst="rect">
              <a:avLst/>
            </a:prstGeom>
            <a:noFill/>
            <a:ln>
              <a:noFill/>
            </a:ln>
          </p:spPr>
          <p:txBody>
            <a:bodyPr wrap="square" lIns="90000" tIns="46800" rIns="90000" bIns="46800" anchor="t" anchorCtr="0"/>
            <a:lstStyle/>
            <a:p>
              <a:pPr algn="ctr">
                <a:lnSpc>
                  <a:spcPct val="150000"/>
                </a:lnSpc>
                <a:buSzPct val="25000"/>
              </a:pPr>
              <a:r>
                <a:rPr lang="zh-CN" altLang="en-US" sz="1600" b="1" dirty="0">
                  <a:solidFill>
                    <a:schemeClr val="accent4">
                      <a:lumMod val="50000"/>
                    </a:schemeClr>
                  </a:solidFill>
                  <a:latin typeface="+mn-ea"/>
                </a:rPr>
                <a:t>全力支持企业复工复产，提供高额低息贷款，帮助解决资金难题</a:t>
              </a:r>
              <a:endParaRPr lang="en-US" sz="1600" b="1" dirty="0">
                <a:solidFill>
                  <a:schemeClr val="accent4">
                    <a:lumMod val="50000"/>
                  </a:schemeClr>
                </a:solidFill>
                <a:latin typeface="+mn-ea"/>
              </a:endParaRPr>
            </a:p>
          </p:txBody>
        </p:sp>
        <p:grpSp>
          <p:nvGrpSpPr>
            <p:cNvPr id="7" name="íŝḷíḓé"/>
            <p:cNvGrpSpPr/>
            <p:nvPr/>
          </p:nvGrpSpPr>
          <p:grpSpPr>
            <a:xfrm>
              <a:off x="5552384" y="3842987"/>
              <a:ext cx="5721481" cy="1102362"/>
              <a:chOff x="5552384" y="3842987"/>
              <a:chExt cx="5721481" cy="1102362"/>
            </a:xfrm>
          </p:grpSpPr>
          <p:grpSp>
            <p:nvGrpSpPr>
              <p:cNvPr id="15" name="iş1ídê"/>
              <p:cNvGrpSpPr/>
              <p:nvPr/>
            </p:nvGrpSpPr>
            <p:grpSpPr>
              <a:xfrm>
                <a:off x="5552384" y="4011124"/>
                <a:ext cx="640132" cy="640129"/>
                <a:chOff x="6201753" y="1652221"/>
                <a:chExt cx="640132" cy="640129"/>
              </a:xfrm>
            </p:grpSpPr>
            <p:sp>
              <p:nvSpPr>
                <p:cNvPr id="19" name="iŝľïdè"/>
                <p:cNvSpPr/>
                <p:nvPr/>
              </p:nvSpPr>
              <p:spPr>
                <a:xfrm>
                  <a:off x="6201753" y="1652221"/>
                  <a:ext cx="640132" cy="640129"/>
                </a:xfrm>
                <a:prstGeom prst="wedgeEllipseCallout">
                  <a:avLst>
                    <a:gd name="adj1" fmla="val -64480"/>
                    <a:gd name="adj2" fmla="val -7931"/>
                  </a:avLst>
                </a:prstGeom>
                <a:solidFill>
                  <a:schemeClr val="accent2">
                    <a:lumMod val="75000"/>
                  </a:schemeClr>
                </a:solidFill>
                <a:ln w="5715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0" name="ïṩ1îḓe"/>
                <p:cNvSpPr/>
                <p:nvPr/>
              </p:nvSpPr>
              <p:spPr>
                <a:xfrm>
                  <a:off x="6368912" y="1848460"/>
                  <a:ext cx="305814" cy="247651"/>
                </a:xfrm>
                <a:custGeom>
                  <a:avLst/>
                  <a:gdLst>
                    <a:gd name="connsiteX0" fmla="*/ 88907 w 605874"/>
                    <a:gd name="connsiteY0" fmla="*/ 397996 h 490642"/>
                    <a:gd name="connsiteX1" fmla="*/ 69835 w 605874"/>
                    <a:gd name="connsiteY1" fmla="*/ 417184 h 490642"/>
                    <a:gd name="connsiteX2" fmla="*/ 88907 w 605874"/>
                    <a:gd name="connsiteY2" fmla="*/ 436229 h 490642"/>
                    <a:gd name="connsiteX3" fmla="*/ 155875 w 605874"/>
                    <a:gd name="connsiteY3" fmla="*/ 436229 h 490642"/>
                    <a:gd name="connsiteX4" fmla="*/ 174947 w 605874"/>
                    <a:gd name="connsiteY4" fmla="*/ 417184 h 490642"/>
                    <a:gd name="connsiteX5" fmla="*/ 155875 w 605874"/>
                    <a:gd name="connsiteY5" fmla="*/ 397996 h 490642"/>
                    <a:gd name="connsiteX6" fmla="*/ 73564 w 605874"/>
                    <a:gd name="connsiteY6" fmla="*/ 343583 h 490642"/>
                    <a:gd name="connsiteX7" fmla="*/ 349033 w 605874"/>
                    <a:gd name="connsiteY7" fmla="*/ 343583 h 490642"/>
                    <a:gd name="connsiteX8" fmla="*/ 348890 w 605874"/>
                    <a:gd name="connsiteY8" fmla="*/ 347879 h 490642"/>
                    <a:gd name="connsiteX9" fmla="*/ 455005 w 605874"/>
                    <a:gd name="connsiteY9" fmla="*/ 490642 h 490642"/>
                    <a:gd name="connsiteX10" fmla="*/ 73564 w 605874"/>
                    <a:gd name="connsiteY10" fmla="*/ 490642 h 490642"/>
                    <a:gd name="connsiteX11" fmla="*/ 0 w 605874"/>
                    <a:gd name="connsiteY11" fmla="*/ 417184 h 490642"/>
                    <a:gd name="connsiteX12" fmla="*/ 73564 w 605874"/>
                    <a:gd name="connsiteY12" fmla="*/ 343583 h 490642"/>
                    <a:gd name="connsiteX13" fmla="*/ 543645 w 605874"/>
                    <a:gd name="connsiteY13" fmla="*/ 305408 h 490642"/>
                    <a:gd name="connsiteX14" fmla="*/ 538196 w 605874"/>
                    <a:gd name="connsiteY14" fmla="*/ 307698 h 490642"/>
                    <a:gd name="connsiteX15" fmla="*/ 482132 w 605874"/>
                    <a:gd name="connsiteY15" fmla="*/ 363527 h 490642"/>
                    <a:gd name="connsiteX16" fmla="*/ 460194 w 605874"/>
                    <a:gd name="connsiteY16" fmla="*/ 341625 h 490642"/>
                    <a:gd name="connsiteX17" fmla="*/ 454746 w 605874"/>
                    <a:gd name="connsiteY17" fmla="*/ 339334 h 490642"/>
                    <a:gd name="connsiteX18" fmla="*/ 449297 w 605874"/>
                    <a:gd name="connsiteY18" fmla="*/ 341625 h 490642"/>
                    <a:gd name="connsiteX19" fmla="*/ 442558 w 605874"/>
                    <a:gd name="connsiteY19" fmla="*/ 348353 h 490642"/>
                    <a:gd name="connsiteX20" fmla="*/ 440407 w 605874"/>
                    <a:gd name="connsiteY20" fmla="*/ 353650 h 490642"/>
                    <a:gd name="connsiteX21" fmla="*/ 442558 w 605874"/>
                    <a:gd name="connsiteY21" fmla="*/ 359089 h 490642"/>
                    <a:gd name="connsiteX22" fmla="*/ 476827 w 605874"/>
                    <a:gd name="connsiteY22" fmla="*/ 393302 h 490642"/>
                    <a:gd name="connsiteX23" fmla="*/ 482132 w 605874"/>
                    <a:gd name="connsiteY23" fmla="*/ 395450 h 490642"/>
                    <a:gd name="connsiteX24" fmla="*/ 487581 w 605874"/>
                    <a:gd name="connsiteY24" fmla="*/ 393302 h 490642"/>
                    <a:gd name="connsiteX25" fmla="*/ 555689 w 605874"/>
                    <a:gd name="connsiteY25" fmla="*/ 325162 h 490642"/>
                    <a:gd name="connsiteX26" fmla="*/ 557983 w 605874"/>
                    <a:gd name="connsiteY26" fmla="*/ 319723 h 490642"/>
                    <a:gd name="connsiteX27" fmla="*/ 555689 w 605874"/>
                    <a:gd name="connsiteY27" fmla="*/ 314426 h 490642"/>
                    <a:gd name="connsiteX28" fmla="*/ 548950 w 605874"/>
                    <a:gd name="connsiteY28" fmla="*/ 307698 h 490642"/>
                    <a:gd name="connsiteX29" fmla="*/ 543645 w 605874"/>
                    <a:gd name="connsiteY29" fmla="*/ 305408 h 490642"/>
                    <a:gd name="connsiteX30" fmla="*/ 498192 w 605874"/>
                    <a:gd name="connsiteY30" fmla="*/ 240417 h 490642"/>
                    <a:gd name="connsiteX31" fmla="*/ 605874 w 605874"/>
                    <a:gd name="connsiteY31" fmla="*/ 347924 h 490642"/>
                    <a:gd name="connsiteX32" fmla="*/ 498192 w 605874"/>
                    <a:gd name="connsiteY32" fmla="*/ 455430 h 490642"/>
                    <a:gd name="connsiteX33" fmla="*/ 390509 w 605874"/>
                    <a:gd name="connsiteY33" fmla="*/ 347924 h 490642"/>
                    <a:gd name="connsiteX34" fmla="*/ 498192 w 605874"/>
                    <a:gd name="connsiteY34" fmla="*/ 240417 h 490642"/>
                    <a:gd name="connsiteX35" fmla="*/ 88904 w 605874"/>
                    <a:gd name="connsiteY35" fmla="*/ 226214 h 490642"/>
                    <a:gd name="connsiteX36" fmla="*/ 69833 w 605874"/>
                    <a:gd name="connsiteY36" fmla="*/ 245393 h 490642"/>
                    <a:gd name="connsiteX37" fmla="*/ 88904 w 605874"/>
                    <a:gd name="connsiteY37" fmla="*/ 264428 h 490642"/>
                    <a:gd name="connsiteX38" fmla="*/ 155869 w 605874"/>
                    <a:gd name="connsiteY38" fmla="*/ 264428 h 490642"/>
                    <a:gd name="connsiteX39" fmla="*/ 174940 w 605874"/>
                    <a:gd name="connsiteY39" fmla="*/ 245393 h 490642"/>
                    <a:gd name="connsiteX40" fmla="*/ 155869 w 605874"/>
                    <a:gd name="connsiteY40" fmla="*/ 226214 h 490642"/>
                    <a:gd name="connsiteX41" fmla="*/ 73561 w 605874"/>
                    <a:gd name="connsiteY41" fmla="*/ 171827 h 490642"/>
                    <a:gd name="connsiteX42" fmla="*/ 486534 w 605874"/>
                    <a:gd name="connsiteY42" fmla="*/ 171827 h 490642"/>
                    <a:gd name="connsiteX43" fmla="*/ 550057 w 605874"/>
                    <a:gd name="connsiteY43" fmla="*/ 208180 h 490642"/>
                    <a:gd name="connsiteX44" fmla="*/ 498149 w 605874"/>
                    <a:gd name="connsiteY44" fmla="*/ 198877 h 490642"/>
                    <a:gd name="connsiteX45" fmla="*/ 351744 w 605874"/>
                    <a:gd name="connsiteY45" fmla="*/ 318815 h 490642"/>
                    <a:gd name="connsiteX46" fmla="*/ 73561 w 605874"/>
                    <a:gd name="connsiteY46" fmla="*/ 318815 h 490642"/>
                    <a:gd name="connsiteX47" fmla="*/ 0 w 605874"/>
                    <a:gd name="connsiteY47" fmla="*/ 245393 h 490642"/>
                    <a:gd name="connsiteX48" fmla="*/ 73561 w 605874"/>
                    <a:gd name="connsiteY48" fmla="*/ 171827 h 490642"/>
                    <a:gd name="connsiteX49" fmla="*/ 88912 w 605874"/>
                    <a:gd name="connsiteY49" fmla="*/ 54413 h 490642"/>
                    <a:gd name="connsiteX50" fmla="*/ 69839 w 605874"/>
                    <a:gd name="connsiteY50" fmla="*/ 73601 h 490642"/>
                    <a:gd name="connsiteX51" fmla="*/ 88912 w 605874"/>
                    <a:gd name="connsiteY51" fmla="*/ 92646 h 490642"/>
                    <a:gd name="connsiteX52" fmla="*/ 155883 w 605874"/>
                    <a:gd name="connsiteY52" fmla="*/ 92646 h 490642"/>
                    <a:gd name="connsiteX53" fmla="*/ 174956 w 605874"/>
                    <a:gd name="connsiteY53" fmla="*/ 73601 h 490642"/>
                    <a:gd name="connsiteX54" fmla="*/ 155883 w 605874"/>
                    <a:gd name="connsiteY54" fmla="*/ 54413 h 490642"/>
                    <a:gd name="connsiteX55" fmla="*/ 454168 w 605874"/>
                    <a:gd name="connsiteY55" fmla="*/ 49258 h 490642"/>
                    <a:gd name="connsiteX56" fmla="*/ 429789 w 605874"/>
                    <a:gd name="connsiteY56" fmla="*/ 73601 h 490642"/>
                    <a:gd name="connsiteX57" fmla="*/ 454168 w 605874"/>
                    <a:gd name="connsiteY57" fmla="*/ 97944 h 490642"/>
                    <a:gd name="connsiteX58" fmla="*/ 478547 w 605874"/>
                    <a:gd name="connsiteY58" fmla="*/ 73601 h 490642"/>
                    <a:gd name="connsiteX59" fmla="*/ 454168 w 605874"/>
                    <a:gd name="connsiteY59" fmla="*/ 49258 h 490642"/>
                    <a:gd name="connsiteX60" fmla="*/ 73568 w 605874"/>
                    <a:gd name="connsiteY60" fmla="*/ 0 h 490642"/>
                    <a:gd name="connsiteX61" fmla="*/ 486578 w 605874"/>
                    <a:gd name="connsiteY61" fmla="*/ 0 h 490642"/>
                    <a:gd name="connsiteX62" fmla="*/ 560289 w 605874"/>
                    <a:gd name="connsiteY62" fmla="*/ 73601 h 490642"/>
                    <a:gd name="connsiteX63" fmla="*/ 486578 w 605874"/>
                    <a:gd name="connsiteY63" fmla="*/ 147059 h 490642"/>
                    <a:gd name="connsiteX64" fmla="*/ 73568 w 605874"/>
                    <a:gd name="connsiteY64" fmla="*/ 147059 h 490642"/>
                    <a:gd name="connsiteX65" fmla="*/ 0 w 605874"/>
                    <a:gd name="connsiteY65" fmla="*/ 73601 h 490642"/>
                    <a:gd name="connsiteX66" fmla="*/ 73568 w 605874"/>
                    <a:gd name="connsiteY66" fmla="*/ 0 h 49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5874" h="490642">
                      <a:moveTo>
                        <a:pt x="88907" y="397996"/>
                      </a:moveTo>
                      <a:cubicBezTo>
                        <a:pt x="78296" y="397996"/>
                        <a:pt x="69835" y="406588"/>
                        <a:pt x="69835" y="417184"/>
                      </a:cubicBezTo>
                      <a:cubicBezTo>
                        <a:pt x="69835" y="427637"/>
                        <a:pt x="78296" y="436229"/>
                        <a:pt x="88907" y="436229"/>
                      </a:cubicBezTo>
                      <a:lnTo>
                        <a:pt x="155875" y="436229"/>
                      </a:lnTo>
                      <a:cubicBezTo>
                        <a:pt x="166343" y="436229"/>
                        <a:pt x="174947" y="427637"/>
                        <a:pt x="174947" y="417184"/>
                      </a:cubicBezTo>
                      <a:cubicBezTo>
                        <a:pt x="174947" y="406588"/>
                        <a:pt x="166343" y="397996"/>
                        <a:pt x="155875" y="397996"/>
                      </a:cubicBezTo>
                      <a:close/>
                      <a:moveTo>
                        <a:pt x="73564" y="343583"/>
                      </a:moveTo>
                      <a:lnTo>
                        <a:pt x="349033" y="343583"/>
                      </a:lnTo>
                      <a:cubicBezTo>
                        <a:pt x="348890" y="345015"/>
                        <a:pt x="348890" y="346447"/>
                        <a:pt x="348890" y="347879"/>
                      </a:cubicBezTo>
                      <a:cubicBezTo>
                        <a:pt x="348890" y="415179"/>
                        <a:pt x="393630" y="472170"/>
                        <a:pt x="455005" y="490642"/>
                      </a:cubicBezTo>
                      <a:lnTo>
                        <a:pt x="73564" y="490642"/>
                      </a:lnTo>
                      <a:cubicBezTo>
                        <a:pt x="32982" y="490642"/>
                        <a:pt x="0" y="457708"/>
                        <a:pt x="0" y="417184"/>
                      </a:cubicBezTo>
                      <a:cubicBezTo>
                        <a:pt x="0" y="376661"/>
                        <a:pt x="32982" y="343583"/>
                        <a:pt x="73564" y="343583"/>
                      </a:cubicBezTo>
                      <a:close/>
                      <a:moveTo>
                        <a:pt x="543645" y="305408"/>
                      </a:moveTo>
                      <a:cubicBezTo>
                        <a:pt x="541494" y="305408"/>
                        <a:pt x="539630" y="306267"/>
                        <a:pt x="538196" y="307698"/>
                      </a:cubicBezTo>
                      <a:lnTo>
                        <a:pt x="482132" y="363527"/>
                      </a:lnTo>
                      <a:lnTo>
                        <a:pt x="460194" y="341625"/>
                      </a:lnTo>
                      <a:cubicBezTo>
                        <a:pt x="458760" y="340050"/>
                        <a:pt x="456753" y="339334"/>
                        <a:pt x="454746" y="339334"/>
                      </a:cubicBezTo>
                      <a:cubicBezTo>
                        <a:pt x="452738" y="339334"/>
                        <a:pt x="450731" y="340050"/>
                        <a:pt x="449297" y="341625"/>
                      </a:cubicBezTo>
                      <a:lnTo>
                        <a:pt x="442558" y="348353"/>
                      </a:lnTo>
                      <a:cubicBezTo>
                        <a:pt x="441124" y="349784"/>
                        <a:pt x="440407" y="351645"/>
                        <a:pt x="440407" y="353650"/>
                      </a:cubicBezTo>
                      <a:cubicBezTo>
                        <a:pt x="440407" y="355797"/>
                        <a:pt x="441124" y="357658"/>
                        <a:pt x="442558" y="359089"/>
                      </a:cubicBezTo>
                      <a:lnTo>
                        <a:pt x="476827" y="393302"/>
                      </a:lnTo>
                      <a:cubicBezTo>
                        <a:pt x="478261" y="394734"/>
                        <a:pt x="480125" y="395450"/>
                        <a:pt x="482132" y="395450"/>
                      </a:cubicBezTo>
                      <a:cubicBezTo>
                        <a:pt x="484283" y="395450"/>
                        <a:pt x="486147" y="394734"/>
                        <a:pt x="487581" y="393302"/>
                      </a:cubicBezTo>
                      <a:lnTo>
                        <a:pt x="555689" y="325162"/>
                      </a:lnTo>
                      <a:cubicBezTo>
                        <a:pt x="557123" y="323731"/>
                        <a:pt x="557983" y="321870"/>
                        <a:pt x="557983" y="319723"/>
                      </a:cubicBezTo>
                      <a:cubicBezTo>
                        <a:pt x="557983" y="317719"/>
                        <a:pt x="557123" y="315858"/>
                        <a:pt x="555689" y="314426"/>
                      </a:cubicBezTo>
                      <a:lnTo>
                        <a:pt x="548950" y="307698"/>
                      </a:lnTo>
                      <a:cubicBezTo>
                        <a:pt x="547516" y="306267"/>
                        <a:pt x="545652" y="305408"/>
                        <a:pt x="543645" y="305408"/>
                      </a:cubicBezTo>
                      <a:close/>
                      <a:moveTo>
                        <a:pt x="498192" y="240417"/>
                      </a:moveTo>
                      <a:cubicBezTo>
                        <a:pt x="557696" y="240417"/>
                        <a:pt x="605874" y="288516"/>
                        <a:pt x="605874" y="347924"/>
                      </a:cubicBezTo>
                      <a:cubicBezTo>
                        <a:pt x="605874" y="407331"/>
                        <a:pt x="557696" y="455430"/>
                        <a:pt x="498192" y="455430"/>
                      </a:cubicBezTo>
                      <a:cubicBezTo>
                        <a:pt x="438687" y="455430"/>
                        <a:pt x="390509" y="407331"/>
                        <a:pt x="390509" y="347924"/>
                      </a:cubicBezTo>
                      <a:cubicBezTo>
                        <a:pt x="390509" y="288516"/>
                        <a:pt x="438687" y="240417"/>
                        <a:pt x="498192" y="240417"/>
                      </a:cubicBezTo>
                      <a:close/>
                      <a:moveTo>
                        <a:pt x="88904" y="226214"/>
                      </a:moveTo>
                      <a:cubicBezTo>
                        <a:pt x="78293" y="226214"/>
                        <a:pt x="69833" y="234801"/>
                        <a:pt x="69833" y="245393"/>
                      </a:cubicBezTo>
                      <a:cubicBezTo>
                        <a:pt x="69833" y="255841"/>
                        <a:pt x="78293" y="264428"/>
                        <a:pt x="88904" y="264428"/>
                      </a:cubicBezTo>
                      <a:lnTo>
                        <a:pt x="155869" y="264428"/>
                      </a:lnTo>
                      <a:cubicBezTo>
                        <a:pt x="166336" y="264428"/>
                        <a:pt x="174940" y="255841"/>
                        <a:pt x="174940" y="245393"/>
                      </a:cubicBezTo>
                      <a:cubicBezTo>
                        <a:pt x="174940" y="234801"/>
                        <a:pt x="166336" y="226214"/>
                        <a:pt x="155869" y="226214"/>
                      </a:cubicBezTo>
                      <a:close/>
                      <a:moveTo>
                        <a:pt x="73561" y="171827"/>
                      </a:moveTo>
                      <a:lnTo>
                        <a:pt x="486534" y="171827"/>
                      </a:lnTo>
                      <a:cubicBezTo>
                        <a:pt x="513635" y="171827"/>
                        <a:pt x="537295" y="186426"/>
                        <a:pt x="550057" y="208180"/>
                      </a:cubicBezTo>
                      <a:cubicBezTo>
                        <a:pt x="533854" y="202169"/>
                        <a:pt x="516360" y="198877"/>
                        <a:pt x="498149" y="198877"/>
                      </a:cubicBezTo>
                      <a:cubicBezTo>
                        <a:pt x="425878" y="198877"/>
                        <a:pt x="365366" y="250545"/>
                        <a:pt x="351744" y="318815"/>
                      </a:cubicBezTo>
                      <a:lnTo>
                        <a:pt x="73561" y="318815"/>
                      </a:lnTo>
                      <a:cubicBezTo>
                        <a:pt x="32980" y="318815"/>
                        <a:pt x="0" y="285897"/>
                        <a:pt x="0" y="245393"/>
                      </a:cubicBezTo>
                      <a:cubicBezTo>
                        <a:pt x="0" y="204889"/>
                        <a:pt x="32980" y="171827"/>
                        <a:pt x="73561" y="171827"/>
                      </a:cubicBezTo>
                      <a:close/>
                      <a:moveTo>
                        <a:pt x="88912" y="54413"/>
                      </a:moveTo>
                      <a:cubicBezTo>
                        <a:pt x="78300" y="54413"/>
                        <a:pt x="69839" y="63005"/>
                        <a:pt x="69839" y="73601"/>
                      </a:cubicBezTo>
                      <a:cubicBezTo>
                        <a:pt x="69839" y="84054"/>
                        <a:pt x="78300" y="92646"/>
                        <a:pt x="88912" y="92646"/>
                      </a:cubicBezTo>
                      <a:lnTo>
                        <a:pt x="155883" y="92646"/>
                      </a:lnTo>
                      <a:cubicBezTo>
                        <a:pt x="166351" y="92646"/>
                        <a:pt x="174956" y="84054"/>
                        <a:pt x="174956" y="73601"/>
                      </a:cubicBezTo>
                      <a:cubicBezTo>
                        <a:pt x="174956" y="63005"/>
                        <a:pt x="166351" y="54413"/>
                        <a:pt x="155883" y="54413"/>
                      </a:cubicBezTo>
                      <a:close/>
                      <a:moveTo>
                        <a:pt x="454168" y="49258"/>
                      </a:moveTo>
                      <a:cubicBezTo>
                        <a:pt x="440688" y="49258"/>
                        <a:pt x="429789" y="60141"/>
                        <a:pt x="429789" y="73601"/>
                      </a:cubicBezTo>
                      <a:cubicBezTo>
                        <a:pt x="429789" y="86918"/>
                        <a:pt x="440688" y="97944"/>
                        <a:pt x="454168" y="97944"/>
                      </a:cubicBezTo>
                      <a:cubicBezTo>
                        <a:pt x="467505" y="97944"/>
                        <a:pt x="478547" y="86918"/>
                        <a:pt x="478547" y="73601"/>
                      </a:cubicBezTo>
                      <a:cubicBezTo>
                        <a:pt x="478547" y="60141"/>
                        <a:pt x="467505" y="49258"/>
                        <a:pt x="454168" y="49258"/>
                      </a:cubicBezTo>
                      <a:close/>
                      <a:moveTo>
                        <a:pt x="73568" y="0"/>
                      </a:moveTo>
                      <a:lnTo>
                        <a:pt x="486578" y="0"/>
                      </a:lnTo>
                      <a:cubicBezTo>
                        <a:pt x="527162" y="0"/>
                        <a:pt x="560289" y="33078"/>
                        <a:pt x="560289" y="73601"/>
                      </a:cubicBezTo>
                      <a:cubicBezTo>
                        <a:pt x="560289" y="114125"/>
                        <a:pt x="527162" y="147059"/>
                        <a:pt x="486578" y="147059"/>
                      </a:cubicBezTo>
                      <a:lnTo>
                        <a:pt x="73568" y="147059"/>
                      </a:lnTo>
                      <a:cubicBezTo>
                        <a:pt x="32983" y="147059"/>
                        <a:pt x="0" y="114125"/>
                        <a:pt x="0" y="73601"/>
                      </a:cubicBezTo>
                      <a:cubicBezTo>
                        <a:pt x="0" y="33078"/>
                        <a:pt x="32983" y="0"/>
                        <a:pt x="73568"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16" name="íŝļïḋe"/>
              <p:cNvGrpSpPr/>
              <p:nvPr/>
            </p:nvGrpSpPr>
            <p:grpSpPr>
              <a:xfrm>
                <a:off x="6351994" y="3842987"/>
                <a:ext cx="4921871" cy="1102362"/>
                <a:chOff x="1605764" y="2532185"/>
                <a:chExt cx="6860062" cy="1102362"/>
              </a:xfrm>
            </p:grpSpPr>
            <p:sp>
              <p:nvSpPr>
                <p:cNvPr id="17" name="íṧliḓê"/>
                <p:cNvSpPr/>
                <p:nvPr/>
              </p:nvSpPr>
              <p:spPr bwMode="auto">
                <a:xfrm>
                  <a:off x="1605764" y="2976194"/>
                  <a:ext cx="6860062" cy="65835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a:lnSpc>
                      <a:spcPct val="120000"/>
                    </a:lnSpc>
                    <a:spcBef>
                      <a:spcPct val="0"/>
                    </a:spcBef>
                    <a:buFont typeface="Wingdings" panose="05000000000000000000" pitchFamily="2" charset="2"/>
                    <a:buChar char="ü"/>
                  </a:pPr>
                  <a:r>
                    <a:rPr lang="zh-CN" altLang="en-US" sz="1400" dirty="0"/>
                    <a:t>小微企业及企业主、个体工商户</a:t>
                  </a:r>
                  <a:endParaRPr lang="en-US" altLang="zh-CN" sz="1400" dirty="0"/>
                </a:p>
                <a:p>
                  <a:pPr marL="285750" indent="-285750">
                    <a:lnSpc>
                      <a:spcPct val="120000"/>
                    </a:lnSpc>
                    <a:spcBef>
                      <a:spcPct val="0"/>
                    </a:spcBef>
                    <a:buFont typeface="Wingdings" panose="05000000000000000000" pitchFamily="2" charset="2"/>
                    <a:buChar char="ü"/>
                  </a:pPr>
                  <a:r>
                    <a:rPr lang="zh-CN" altLang="en-US" sz="1400" dirty="0"/>
                    <a:t>重点支持疫情防控领域及受疫情影响较大的行业</a:t>
                  </a:r>
                  <a:endParaRPr lang="en-US" altLang="zh-CN" sz="1400" dirty="0"/>
                </a:p>
              </p:txBody>
            </p:sp>
            <p:sp>
              <p:nvSpPr>
                <p:cNvPr id="18" name="ïş1íďê"/>
                <p:cNvSpPr txBox="1"/>
                <p:nvPr/>
              </p:nvSpPr>
              <p:spPr bwMode="auto">
                <a:xfrm>
                  <a:off x="1605765" y="2532185"/>
                  <a:ext cx="5972828" cy="44400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600" b="1" dirty="0"/>
                    <a:t>支持对象</a:t>
                  </a:r>
                  <a:endParaRPr lang="en-US" altLang="zh-CN" sz="1600" b="1" dirty="0"/>
                </a:p>
              </p:txBody>
            </p:sp>
          </p:grpSp>
        </p:grpSp>
        <p:grpSp>
          <p:nvGrpSpPr>
            <p:cNvPr id="8" name="í$ḷîďe"/>
            <p:cNvGrpSpPr/>
            <p:nvPr/>
          </p:nvGrpSpPr>
          <p:grpSpPr>
            <a:xfrm>
              <a:off x="5552384" y="5031738"/>
              <a:ext cx="5721481" cy="1401430"/>
              <a:chOff x="5552384" y="3842987"/>
              <a:chExt cx="5721481" cy="1401430"/>
            </a:xfrm>
          </p:grpSpPr>
          <p:grpSp>
            <p:nvGrpSpPr>
              <p:cNvPr id="9" name="i$ľidê"/>
              <p:cNvGrpSpPr/>
              <p:nvPr/>
            </p:nvGrpSpPr>
            <p:grpSpPr>
              <a:xfrm>
                <a:off x="5552384" y="4011124"/>
                <a:ext cx="640132" cy="640129"/>
                <a:chOff x="6201753" y="1652221"/>
                <a:chExt cx="640132" cy="640129"/>
              </a:xfrm>
            </p:grpSpPr>
            <p:sp>
              <p:nvSpPr>
                <p:cNvPr id="13" name="iṩľïḍê"/>
                <p:cNvSpPr/>
                <p:nvPr/>
              </p:nvSpPr>
              <p:spPr>
                <a:xfrm>
                  <a:off x="6201753" y="1652221"/>
                  <a:ext cx="640132" cy="640129"/>
                </a:xfrm>
                <a:prstGeom prst="wedgeEllipseCallout">
                  <a:avLst>
                    <a:gd name="adj1" fmla="val -64480"/>
                    <a:gd name="adj2" fmla="val -7931"/>
                  </a:avLst>
                </a:prstGeom>
                <a:solidFill>
                  <a:srgbClr val="002060"/>
                </a:solidFill>
                <a:ln w="5715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14" name="íšḷîḋè"/>
                <p:cNvSpPr/>
                <p:nvPr/>
              </p:nvSpPr>
              <p:spPr>
                <a:xfrm>
                  <a:off x="6368912" y="1848460"/>
                  <a:ext cx="305814" cy="247651"/>
                </a:xfrm>
                <a:custGeom>
                  <a:avLst/>
                  <a:gdLst>
                    <a:gd name="connsiteX0" fmla="*/ 88907 w 605874"/>
                    <a:gd name="connsiteY0" fmla="*/ 397996 h 490642"/>
                    <a:gd name="connsiteX1" fmla="*/ 69835 w 605874"/>
                    <a:gd name="connsiteY1" fmla="*/ 417184 h 490642"/>
                    <a:gd name="connsiteX2" fmla="*/ 88907 w 605874"/>
                    <a:gd name="connsiteY2" fmla="*/ 436229 h 490642"/>
                    <a:gd name="connsiteX3" fmla="*/ 155875 w 605874"/>
                    <a:gd name="connsiteY3" fmla="*/ 436229 h 490642"/>
                    <a:gd name="connsiteX4" fmla="*/ 174947 w 605874"/>
                    <a:gd name="connsiteY4" fmla="*/ 417184 h 490642"/>
                    <a:gd name="connsiteX5" fmla="*/ 155875 w 605874"/>
                    <a:gd name="connsiteY5" fmla="*/ 397996 h 490642"/>
                    <a:gd name="connsiteX6" fmla="*/ 73564 w 605874"/>
                    <a:gd name="connsiteY6" fmla="*/ 343583 h 490642"/>
                    <a:gd name="connsiteX7" fmla="*/ 349033 w 605874"/>
                    <a:gd name="connsiteY7" fmla="*/ 343583 h 490642"/>
                    <a:gd name="connsiteX8" fmla="*/ 348890 w 605874"/>
                    <a:gd name="connsiteY8" fmla="*/ 347879 h 490642"/>
                    <a:gd name="connsiteX9" fmla="*/ 455005 w 605874"/>
                    <a:gd name="connsiteY9" fmla="*/ 490642 h 490642"/>
                    <a:gd name="connsiteX10" fmla="*/ 73564 w 605874"/>
                    <a:gd name="connsiteY10" fmla="*/ 490642 h 490642"/>
                    <a:gd name="connsiteX11" fmla="*/ 0 w 605874"/>
                    <a:gd name="connsiteY11" fmla="*/ 417184 h 490642"/>
                    <a:gd name="connsiteX12" fmla="*/ 73564 w 605874"/>
                    <a:gd name="connsiteY12" fmla="*/ 343583 h 490642"/>
                    <a:gd name="connsiteX13" fmla="*/ 543645 w 605874"/>
                    <a:gd name="connsiteY13" fmla="*/ 305408 h 490642"/>
                    <a:gd name="connsiteX14" fmla="*/ 538196 w 605874"/>
                    <a:gd name="connsiteY14" fmla="*/ 307698 h 490642"/>
                    <a:gd name="connsiteX15" fmla="*/ 482132 w 605874"/>
                    <a:gd name="connsiteY15" fmla="*/ 363527 h 490642"/>
                    <a:gd name="connsiteX16" fmla="*/ 460194 w 605874"/>
                    <a:gd name="connsiteY16" fmla="*/ 341625 h 490642"/>
                    <a:gd name="connsiteX17" fmla="*/ 454746 w 605874"/>
                    <a:gd name="connsiteY17" fmla="*/ 339334 h 490642"/>
                    <a:gd name="connsiteX18" fmla="*/ 449297 w 605874"/>
                    <a:gd name="connsiteY18" fmla="*/ 341625 h 490642"/>
                    <a:gd name="connsiteX19" fmla="*/ 442558 w 605874"/>
                    <a:gd name="connsiteY19" fmla="*/ 348353 h 490642"/>
                    <a:gd name="connsiteX20" fmla="*/ 440407 w 605874"/>
                    <a:gd name="connsiteY20" fmla="*/ 353650 h 490642"/>
                    <a:gd name="connsiteX21" fmla="*/ 442558 w 605874"/>
                    <a:gd name="connsiteY21" fmla="*/ 359089 h 490642"/>
                    <a:gd name="connsiteX22" fmla="*/ 476827 w 605874"/>
                    <a:gd name="connsiteY22" fmla="*/ 393302 h 490642"/>
                    <a:gd name="connsiteX23" fmla="*/ 482132 w 605874"/>
                    <a:gd name="connsiteY23" fmla="*/ 395450 h 490642"/>
                    <a:gd name="connsiteX24" fmla="*/ 487581 w 605874"/>
                    <a:gd name="connsiteY24" fmla="*/ 393302 h 490642"/>
                    <a:gd name="connsiteX25" fmla="*/ 555689 w 605874"/>
                    <a:gd name="connsiteY25" fmla="*/ 325162 h 490642"/>
                    <a:gd name="connsiteX26" fmla="*/ 557983 w 605874"/>
                    <a:gd name="connsiteY26" fmla="*/ 319723 h 490642"/>
                    <a:gd name="connsiteX27" fmla="*/ 555689 w 605874"/>
                    <a:gd name="connsiteY27" fmla="*/ 314426 h 490642"/>
                    <a:gd name="connsiteX28" fmla="*/ 548950 w 605874"/>
                    <a:gd name="connsiteY28" fmla="*/ 307698 h 490642"/>
                    <a:gd name="connsiteX29" fmla="*/ 543645 w 605874"/>
                    <a:gd name="connsiteY29" fmla="*/ 305408 h 490642"/>
                    <a:gd name="connsiteX30" fmla="*/ 498192 w 605874"/>
                    <a:gd name="connsiteY30" fmla="*/ 240417 h 490642"/>
                    <a:gd name="connsiteX31" fmla="*/ 605874 w 605874"/>
                    <a:gd name="connsiteY31" fmla="*/ 347924 h 490642"/>
                    <a:gd name="connsiteX32" fmla="*/ 498192 w 605874"/>
                    <a:gd name="connsiteY32" fmla="*/ 455430 h 490642"/>
                    <a:gd name="connsiteX33" fmla="*/ 390509 w 605874"/>
                    <a:gd name="connsiteY33" fmla="*/ 347924 h 490642"/>
                    <a:gd name="connsiteX34" fmla="*/ 498192 w 605874"/>
                    <a:gd name="connsiteY34" fmla="*/ 240417 h 490642"/>
                    <a:gd name="connsiteX35" fmla="*/ 88904 w 605874"/>
                    <a:gd name="connsiteY35" fmla="*/ 226214 h 490642"/>
                    <a:gd name="connsiteX36" fmla="*/ 69833 w 605874"/>
                    <a:gd name="connsiteY36" fmla="*/ 245393 h 490642"/>
                    <a:gd name="connsiteX37" fmla="*/ 88904 w 605874"/>
                    <a:gd name="connsiteY37" fmla="*/ 264428 h 490642"/>
                    <a:gd name="connsiteX38" fmla="*/ 155869 w 605874"/>
                    <a:gd name="connsiteY38" fmla="*/ 264428 h 490642"/>
                    <a:gd name="connsiteX39" fmla="*/ 174940 w 605874"/>
                    <a:gd name="connsiteY39" fmla="*/ 245393 h 490642"/>
                    <a:gd name="connsiteX40" fmla="*/ 155869 w 605874"/>
                    <a:gd name="connsiteY40" fmla="*/ 226214 h 490642"/>
                    <a:gd name="connsiteX41" fmla="*/ 73561 w 605874"/>
                    <a:gd name="connsiteY41" fmla="*/ 171827 h 490642"/>
                    <a:gd name="connsiteX42" fmla="*/ 486534 w 605874"/>
                    <a:gd name="connsiteY42" fmla="*/ 171827 h 490642"/>
                    <a:gd name="connsiteX43" fmla="*/ 550057 w 605874"/>
                    <a:gd name="connsiteY43" fmla="*/ 208180 h 490642"/>
                    <a:gd name="connsiteX44" fmla="*/ 498149 w 605874"/>
                    <a:gd name="connsiteY44" fmla="*/ 198877 h 490642"/>
                    <a:gd name="connsiteX45" fmla="*/ 351744 w 605874"/>
                    <a:gd name="connsiteY45" fmla="*/ 318815 h 490642"/>
                    <a:gd name="connsiteX46" fmla="*/ 73561 w 605874"/>
                    <a:gd name="connsiteY46" fmla="*/ 318815 h 490642"/>
                    <a:gd name="connsiteX47" fmla="*/ 0 w 605874"/>
                    <a:gd name="connsiteY47" fmla="*/ 245393 h 490642"/>
                    <a:gd name="connsiteX48" fmla="*/ 73561 w 605874"/>
                    <a:gd name="connsiteY48" fmla="*/ 171827 h 490642"/>
                    <a:gd name="connsiteX49" fmla="*/ 88912 w 605874"/>
                    <a:gd name="connsiteY49" fmla="*/ 54413 h 490642"/>
                    <a:gd name="connsiteX50" fmla="*/ 69839 w 605874"/>
                    <a:gd name="connsiteY50" fmla="*/ 73601 h 490642"/>
                    <a:gd name="connsiteX51" fmla="*/ 88912 w 605874"/>
                    <a:gd name="connsiteY51" fmla="*/ 92646 h 490642"/>
                    <a:gd name="connsiteX52" fmla="*/ 155883 w 605874"/>
                    <a:gd name="connsiteY52" fmla="*/ 92646 h 490642"/>
                    <a:gd name="connsiteX53" fmla="*/ 174956 w 605874"/>
                    <a:gd name="connsiteY53" fmla="*/ 73601 h 490642"/>
                    <a:gd name="connsiteX54" fmla="*/ 155883 w 605874"/>
                    <a:gd name="connsiteY54" fmla="*/ 54413 h 490642"/>
                    <a:gd name="connsiteX55" fmla="*/ 454168 w 605874"/>
                    <a:gd name="connsiteY55" fmla="*/ 49258 h 490642"/>
                    <a:gd name="connsiteX56" fmla="*/ 429789 w 605874"/>
                    <a:gd name="connsiteY56" fmla="*/ 73601 h 490642"/>
                    <a:gd name="connsiteX57" fmla="*/ 454168 w 605874"/>
                    <a:gd name="connsiteY57" fmla="*/ 97944 h 490642"/>
                    <a:gd name="connsiteX58" fmla="*/ 478547 w 605874"/>
                    <a:gd name="connsiteY58" fmla="*/ 73601 h 490642"/>
                    <a:gd name="connsiteX59" fmla="*/ 454168 w 605874"/>
                    <a:gd name="connsiteY59" fmla="*/ 49258 h 490642"/>
                    <a:gd name="connsiteX60" fmla="*/ 73568 w 605874"/>
                    <a:gd name="connsiteY60" fmla="*/ 0 h 490642"/>
                    <a:gd name="connsiteX61" fmla="*/ 486578 w 605874"/>
                    <a:gd name="connsiteY61" fmla="*/ 0 h 490642"/>
                    <a:gd name="connsiteX62" fmla="*/ 560289 w 605874"/>
                    <a:gd name="connsiteY62" fmla="*/ 73601 h 490642"/>
                    <a:gd name="connsiteX63" fmla="*/ 486578 w 605874"/>
                    <a:gd name="connsiteY63" fmla="*/ 147059 h 490642"/>
                    <a:gd name="connsiteX64" fmla="*/ 73568 w 605874"/>
                    <a:gd name="connsiteY64" fmla="*/ 147059 h 490642"/>
                    <a:gd name="connsiteX65" fmla="*/ 0 w 605874"/>
                    <a:gd name="connsiteY65" fmla="*/ 73601 h 490642"/>
                    <a:gd name="connsiteX66" fmla="*/ 73568 w 605874"/>
                    <a:gd name="connsiteY66" fmla="*/ 0 h 49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5874" h="490642">
                      <a:moveTo>
                        <a:pt x="88907" y="397996"/>
                      </a:moveTo>
                      <a:cubicBezTo>
                        <a:pt x="78296" y="397996"/>
                        <a:pt x="69835" y="406588"/>
                        <a:pt x="69835" y="417184"/>
                      </a:cubicBezTo>
                      <a:cubicBezTo>
                        <a:pt x="69835" y="427637"/>
                        <a:pt x="78296" y="436229"/>
                        <a:pt x="88907" y="436229"/>
                      </a:cubicBezTo>
                      <a:lnTo>
                        <a:pt x="155875" y="436229"/>
                      </a:lnTo>
                      <a:cubicBezTo>
                        <a:pt x="166343" y="436229"/>
                        <a:pt x="174947" y="427637"/>
                        <a:pt x="174947" y="417184"/>
                      </a:cubicBezTo>
                      <a:cubicBezTo>
                        <a:pt x="174947" y="406588"/>
                        <a:pt x="166343" y="397996"/>
                        <a:pt x="155875" y="397996"/>
                      </a:cubicBezTo>
                      <a:close/>
                      <a:moveTo>
                        <a:pt x="73564" y="343583"/>
                      </a:moveTo>
                      <a:lnTo>
                        <a:pt x="349033" y="343583"/>
                      </a:lnTo>
                      <a:cubicBezTo>
                        <a:pt x="348890" y="345015"/>
                        <a:pt x="348890" y="346447"/>
                        <a:pt x="348890" y="347879"/>
                      </a:cubicBezTo>
                      <a:cubicBezTo>
                        <a:pt x="348890" y="415179"/>
                        <a:pt x="393630" y="472170"/>
                        <a:pt x="455005" y="490642"/>
                      </a:cubicBezTo>
                      <a:lnTo>
                        <a:pt x="73564" y="490642"/>
                      </a:lnTo>
                      <a:cubicBezTo>
                        <a:pt x="32982" y="490642"/>
                        <a:pt x="0" y="457708"/>
                        <a:pt x="0" y="417184"/>
                      </a:cubicBezTo>
                      <a:cubicBezTo>
                        <a:pt x="0" y="376661"/>
                        <a:pt x="32982" y="343583"/>
                        <a:pt x="73564" y="343583"/>
                      </a:cubicBezTo>
                      <a:close/>
                      <a:moveTo>
                        <a:pt x="543645" y="305408"/>
                      </a:moveTo>
                      <a:cubicBezTo>
                        <a:pt x="541494" y="305408"/>
                        <a:pt x="539630" y="306267"/>
                        <a:pt x="538196" y="307698"/>
                      </a:cubicBezTo>
                      <a:lnTo>
                        <a:pt x="482132" y="363527"/>
                      </a:lnTo>
                      <a:lnTo>
                        <a:pt x="460194" y="341625"/>
                      </a:lnTo>
                      <a:cubicBezTo>
                        <a:pt x="458760" y="340050"/>
                        <a:pt x="456753" y="339334"/>
                        <a:pt x="454746" y="339334"/>
                      </a:cubicBezTo>
                      <a:cubicBezTo>
                        <a:pt x="452738" y="339334"/>
                        <a:pt x="450731" y="340050"/>
                        <a:pt x="449297" y="341625"/>
                      </a:cubicBezTo>
                      <a:lnTo>
                        <a:pt x="442558" y="348353"/>
                      </a:lnTo>
                      <a:cubicBezTo>
                        <a:pt x="441124" y="349784"/>
                        <a:pt x="440407" y="351645"/>
                        <a:pt x="440407" y="353650"/>
                      </a:cubicBezTo>
                      <a:cubicBezTo>
                        <a:pt x="440407" y="355797"/>
                        <a:pt x="441124" y="357658"/>
                        <a:pt x="442558" y="359089"/>
                      </a:cubicBezTo>
                      <a:lnTo>
                        <a:pt x="476827" y="393302"/>
                      </a:lnTo>
                      <a:cubicBezTo>
                        <a:pt x="478261" y="394734"/>
                        <a:pt x="480125" y="395450"/>
                        <a:pt x="482132" y="395450"/>
                      </a:cubicBezTo>
                      <a:cubicBezTo>
                        <a:pt x="484283" y="395450"/>
                        <a:pt x="486147" y="394734"/>
                        <a:pt x="487581" y="393302"/>
                      </a:cubicBezTo>
                      <a:lnTo>
                        <a:pt x="555689" y="325162"/>
                      </a:lnTo>
                      <a:cubicBezTo>
                        <a:pt x="557123" y="323731"/>
                        <a:pt x="557983" y="321870"/>
                        <a:pt x="557983" y="319723"/>
                      </a:cubicBezTo>
                      <a:cubicBezTo>
                        <a:pt x="557983" y="317719"/>
                        <a:pt x="557123" y="315858"/>
                        <a:pt x="555689" y="314426"/>
                      </a:cubicBezTo>
                      <a:lnTo>
                        <a:pt x="548950" y="307698"/>
                      </a:lnTo>
                      <a:cubicBezTo>
                        <a:pt x="547516" y="306267"/>
                        <a:pt x="545652" y="305408"/>
                        <a:pt x="543645" y="305408"/>
                      </a:cubicBezTo>
                      <a:close/>
                      <a:moveTo>
                        <a:pt x="498192" y="240417"/>
                      </a:moveTo>
                      <a:cubicBezTo>
                        <a:pt x="557696" y="240417"/>
                        <a:pt x="605874" y="288516"/>
                        <a:pt x="605874" y="347924"/>
                      </a:cubicBezTo>
                      <a:cubicBezTo>
                        <a:pt x="605874" y="407331"/>
                        <a:pt x="557696" y="455430"/>
                        <a:pt x="498192" y="455430"/>
                      </a:cubicBezTo>
                      <a:cubicBezTo>
                        <a:pt x="438687" y="455430"/>
                        <a:pt x="390509" y="407331"/>
                        <a:pt x="390509" y="347924"/>
                      </a:cubicBezTo>
                      <a:cubicBezTo>
                        <a:pt x="390509" y="288516"/>
                        <a:pt x="438687" y="240417"/>
                        <a:pt x="498192" y="240417"/>
                      </a:cubicBezTo>
                      <a:close/>
                      <a:moveTo>
                        <a:pt x="88904" y="226214"/>
                      </a:moveTo>
                      <a:cubicBezTo>
                        <a:pt x="78293" y="226214"/>
                        <a:pt x="69833" y="234801"/>
                        <a:pt x="69833" y="245393"/>
                      </a:cubicBezTo>
                      <a:cubicBezTo>
                        <a:pt x="69833" y="255841"/>
                        <a:pt x="78293" y="264428"/>
                        <a:pt x="88904" y="264428"/>
                      </a:cubicBezTo>
                      <a:lnTo>
                        <a:pt x="155869" y="264428"/>
                      </a:lnTo>
                      <a:cubicBezTo>
                        <a:pt x="166336" y="264428"/>
                        <a:pt x="174940" y="255841"/>
                        <a:pt x="174940" y="245393"/>
                      </a:cubicBezTo>
                      <a:cubicBezTo>
                        <a:pt x="174940" y="234801"/>
                        <a:pt x="166336" y="226214"/>
                        <a:pt x="155869" y="226214"/>
                      </a:cubicBezTo>
                      <a:close/>
                      <a:moveTo>
                        <a:pt x="73561" y="171827"/>
                      </a:moveTo>
                      <a:lnTo>
                        <a:pt x="486534" y="171827"/>
                      </a:lnTo>
                      <a:cubicBezTo>
                        <a:pt x="513635" y="171827"/>
                        <a:pt x="537295" y="186426"/>
                        <a:pt x="550057" y="208180"/>
                      </a:cubicBezTo>
                      <a:cubicBezTo>
                        <a:pt x="533854" y="202169"/>
                        <a:pt x="516360" y="198877"/>
                        <a:pt x="498149" y="198877"/>
                      </a:cubicBezTo>
                      <a:cubicBezTo>
                        <a:pt x="425878" y="198877"/>
                        <a:pt x="365366" y="250545"/>
                        <a:pt x="351744" y="318815"/>
                      </a:cubicBezTo>
                      <a:lnTo>
                        <a:pt x="73561" y="318815"/>
                      </a:lnTo>
                      <a:cubicBezTo>
                        <a:pt x="32980" y="318815"/>
                        <a:pt x="0" y="285897"/>
                        <a:pt x="0" y="245393"/>
                      </a:cubicBezTo>
                      <a:cubicBezTo>
                        <a:pt x="0" y="204889"/>
                        <a:pt x="32980" y="171827"/>
                        <a:pt x="73561" y="171827"/>
                      </a:cubicBezTo>
                      <a:close/>
                      <a:moveTo>
                        <a:pt x="88912" y="54413"/>
                      </a:moveTo>
                      <a:cubicBezTo>
                        <a:pt x="78300" y="54413"/>
                        <a:pt x="69839" y="63005"/>
                        <a:pt x="69839" y="73601"/>
                      </a:cubicBezTo>
                      <a:cubicBezTo>
                        <a:pt x="69839" y="84054"/>
                        <a:pt x="78300" y="92646"/>
                        <a:pt x="88912" y="92646"/>
                      </a:cubicBezTo>
                      <a:lnTo>
                        <a:pt x="155883" y="92646"/>
                      </a:lnTo>
                      <a:cubicBezTo>
                        <a:pt x="166351" y="92646"/>
                        <a:pt x="174956" y="84054"/>
                        <a:pt x="174956" y="73601"/>
                      </a:cubicBezTo>
                      <a:cubicBezTo>
                        <a:pt x="174956" y="63005"/>
                        <a:pt x="166351" y="54413"/>
                        <a:pt x="155883" y="54413"/>
                      </a:cubicBezTo>
                      <a:close/>
                      <a:moveTo>
                        <a:pt x="454168" y="49258"/>
                      </a:moveTo>
                      <a:cubicBezTo>
                        <a:pt x="440688" y="49258"/>
                        <a:pt x="429789" y="60141"/>
                        <a:pt x="429789" y="73601"/>
                      </a:cubicBezTo>
                      <a:cubicBezTo>
                        <a:pt x="429789" y="86918"/>
                        <a:pt x="440688" y="97944"/>
                        <a:pt x="454168" y="97944"/>
                      </a:cubicBezTo>
                      <a:cubicBezTo>
                        <a:pt x="467505" y="97944"/>
                        <a:pt x="478547" y="86918"/>
                        <a:pt x="478547" y="73601"/>
                      </a:cubicBezTo>
                      <a:cubicBezTo>
                        <a:pt x="478547" y="60141"/>
                        <a:pt x="467505" y="49258"/>
                        <a:pt x="454168" y="49258"/>
                      </a:cubicBezTo>
                      <a:close/>
                      <a:moveTo>
                        <a:pt x="73568" y="0"/>
                      </a:moveTo>
                      <a:lnTo>
                        <a:pt x="486578" y="0"/>
                      </a:lnTo>
                      <a:cubicBezTo>
                        <a:pt x="527162" y="0"/>
                        <a:pt x="560289" y="33078"/>
                        <a:pt x="560289" y="73601"/>
                      </a:cubicBezTo>
                      <a:cubicBezTo>
                        <a:pt x="560289" y="114125"/>
                        <a:pt x="527162" y="147059"/>
                        <a:pt x="486578" y="147059"/>
                      </a:cubicBezTo>
                      <a:lnTo>
                        <a:pt x="73568" y="147059"/>
                      </a:lnTo>
                      <a:cubicBezTo>
                        <a:pt x="32983" y="147059"/>
                        <a:pt x="0" y="114125"/>
                        <a:pt x="0" y="73601"/>
                      </a:cubicBezTo>
                      <a:cubicBezTo>
                        <a:pt x="0" y="33078"/>
                        <a:pt x="32983" y="0"/>
                        <a:pt x="73568"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10" name="isḻidé"/>
              <p:cNvGrpSpPr/>
              <p:nvPr/>
            </p:nvGrpSpPr>
            <p:grpSpPr>
              <a:xfrm>
                <a:off x="6351994" y="3842987"/>
                <a:ext cx="4921871" cy="1401430"/>
                <a:chOff x="1605764" y="2532185"/>
                <a:chExt cx="6860062" cy="1401430"/>
              </a:xfrm>
            </p:grpSpPr>
            <p:sp>
              <p:nvSpPr>
                <p:cNvPr id="11" name="ïṥľïḋé"/>
                <p:cNvSpPr/>
                <p:nvPr/>
              </p:nvSpPr>
              <p:spPr bwMode="auto">
                <a:xfrm>
                  <a:off x="1605764" y="2976195"/>
                  <a:ext cx="6860062" cy="95742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spcBef>
                      <a:spcPct val="0"/>
                    </a:spcBef>
                    <a:buFont typeface="Wingdings" panose="05000000000000000000" pitchFamily="2" charset="2"/>
                    <a:buChar char="Ø"/>
                  </a:pPr>
                  <a:r>
                    <a:rPr lang="zh-CN" altLang="en-US" sz="1400" dirty="0">
                      <a:latin typeface="+mn-ea"/>
                    </a:rPr>
                    <a:t>额度：单户最高</a:t>
                  </a:r>
                  <a:r>
                    <a:rPr lang="en-US" altLang="zh-CN" sz="1400" b="1" dirty="0">
                      <a:solidFill>
                        <a:srgbClr val="C00000"/>
                      </a:solidFill>
                      <a:latin typeface="+mn-ea"/>
                    </a:rPr>
                    <a:t>1000</a:t>
                  </a:r>
                  <a:r>
                    <a:rPr lang="zh-CN" altLang="en-US" sz="1400" b="1" dirty="0">
                      <a:solidFill>
                        <a:srgbClr val="C00000"/>
                      </a:solidFill>
                      <a:latin typeface="+mn-ea"/>
                    </a:rPr>
                    <a:t>万元（含）</a:t>
                  </a:r>
                  <a:endParaRPr lang="en-US" altLang="zh-CN" sz="1400" b="1" dirty="0">
                    <a:solidFill>
                      <a:srgbClr val="C00000"/>
                    </a:solidFill>
                    <a:latin typeface="+mn-ea"/>
                  </a:endParaRPr>
                </a:p>
                <a:p>
                  <a:pPr marL="171450" indent="-171450">
                    <a:lnSpc>
                      <a:spcPct val="120000"/>
                    </a:lnSpc>
                    <a:spcBef>
                      <a:spcPct val="0"/>
                    </a:spcBef>
                    <a:buFont typeface="Wingdings" panose="05000000000000000000" pitchFamily="2" charset="2"/>
                    <a:buChar char="Ø"/>
                  </a:pPr>
                  <a:r>
                    <a:rPr lang="zh-CN" altLang="en-US" sz="1400" dirty="0">
                      <a:latin typeface="+mn-ea"/>
                    </a:rPr>
                    <a:t>期限：最长期限</a:t>
                  </a:r>
                  <a:r>
                    <a:rPr lang="en-US" altLang="zh-CN" sz="1400" b="1" dirty="0">
                      <a:solidFill>
                        <a:srgbClr val="C00000"/>
                      </a:solidFill>
                      <a:latin typeface="+mn-ea"/>
                    </a:rPr>
                    <a:t>3</a:t>
                  </a:r>
                  <a:r>
                    <a:rPr lang="zh-CN" altLang="en-US" sz="1400" b="1" dirty="0">
                      <a:solidFill>
                        <a:srgbClr val="C00000"/>
                      </a:solidFill>
                      <a:latin typeface="+mn-ea"/>
                    </a:rPr>
                    <a:t>年</a:t>
                  </a:r>
                  <a:endParaRPr lang="en-US" altLang="zh-CN" sz="1400" b="1" dirty="0">
                    <a:solidFill>
                      <a:srgbClr val="C00000"/>
                    </a:solidFill>
                    <a:latin typeface="+mn-ea"/>
                  </a:endParaRPr>
                </a:p>
                <a:p>
                  <a:pPr marL="171450" indent="-171450">
                    <a:lnSpc>
                      <a:spcPct val="120000"/>
                    </a:lnSpc>
                    <a:spcBef>
                      <a:spcPct val="0"/>
                    </a:spcBef>
                    <a:buFont typeface="Wingdings" panose="05000000000000000000" pitchFamily="2" charset="2"/>
                    <a:buChar char="Ø"/>
                  </a:pPr>
                  <a:r>
                    <a:rPr lang="zh-CN" altLang="en-US" sz="1400" dirty="0">
                      <a:latin typeface="+mn-ea"/>
                    </a:rPr>
                    <a:t>用途：满足日常经营周转的流动资金</a:t>
                  </a:r>
                  <a:endParaRPr lang="en-US" altLang="zh-CN" sz="1400" dirty="0">
                    <a:latin typeface="+mn-ea"/>
                  </a:endParaRPr>
                </a:p>
              </p:txBody>
            </p:sp>
            <p:sp>
              <p:nvSpPr>
                <p:cNvPr id="12" name="îṧḷïdè"/>
                <p:cNvSpPr txBox="1"/>
                <p:nvPr/>
              </p:nvSpPr>
              <p:spPr bwMode="auto">
                <a:xfrm>
                  <a:off x="1605765" y="2532185"/>
                  <a:ext cx="5972828" cy="44400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600" b="1" dirty="0"/>
                    <a:t>贷款要素</a:t>
                  </a:r>
                  <a:endParaRPr lang="en-US" altLang="zh-CN" sz="1600" b="1" dirty="0"/>
                </a:p>
              </p:txBody>
            </p:sp>
          </p:grpSp>
        </p:grpSp>
      </p:grpSp>
      <p:pic>
        <p:nvPicPr>
          <p:cNvPr id="4" name="图片 3"/>
          <p:cNvPicPr>
            <a:picLocks noChangeAspect="1"/>
          </p:cNvPicPr>
          <p:nvPr/>
        </p:nvPicPr>
        <p:blipFill>
          <a:blip r:embed="rId2"/>
          <a:stretch>
            <a:fillRect/>
          </a:stretch>
        </p:blipFill>
        <p:spPr>
          <a:xfrm>
            <a:off x="351522" y="2232066"/>
            <a:ext cx="4669941" cy="3371380"/>
          </a:xfrm>
          <a:prstGeom prst="rect">
            <a:avLst/>
          </a:prstGeom>
        </p:spPr>
      </p:pic>
    </p:spTree>
    <p:custDataLst>
      <p:tags r:id="rId3"/>
    </p:custData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三、（</a:t>
            </a:r>
            <a:r>
              <a:rPr lang="en-US" altLang="zh-CN" dirty="0"/>
              <a:t>1</a:t>
            </a:r>
            <a:r>
              <a:rPr lang="zh-CN" altLang="en-US" dirty="0"/>
              <a:t>）产品特色</a:t>
            </a:r>
            <a:endParaRPr lang="zh-CN" altLang="en-US" dirty="0"/>
          </a:p>
        </p:txBody>
      </p:sp>
      <p:grpSp>
        <p:nvGrpSpPr>
          <p:cNvPr id="3" name="#33191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179757" y="1754496"/>
            <a:ext cx="10160189" cy="4514682"/>
            <a:chOff x="1851980" y="1718571"/>
            <a:chExt cx="10038067" cy="4514682"/>
          </a:xfrm>
        </p:grpSpPr>
        <p:sp>
          <p:nvSpPr>
            <p:cNvPr id="4" name="iṣ1ïḋè"/>
            <p:cNvSpPr/>
            <p:nvPr/>
          </p:nvSpPr>
          <p:spPr bwMode="auto">
            <a:xfrm>
              <a:off x="4409126" y="1718571"/>
              <a:ext cx="3443104" cy="3438400"/>
            </a:xfrm>
            <a:custGeom>
              <a:avLst/>
              <a:gdLst>
                <a:gd name="T0" fmla="*/ 647 w 1293"/>
                <a:gd name="T1" fmla="*/ 0 h 1293"/>
                <a:gd name="T2" fmla="*/ 0 w 1293"/>
                <a:gd name="T3" fmla="*/ 647 h 1293"/>
                <a:gd name="T4" fmla="*/ 647 w 1293"/>
                <a:gd name="T5" fmla="*/ 1293 h 1293"/>
                <a:gd name="T6" fmla="*/ 1293 w 1293"/>
                <a:gd name="T7" fmla="*/ 647 h 1293"/>
                <a:gd name="T8" fmla="*/ 647 w 1293"/>
                <a:gd name="T9" fmla="*/ 0 h 1293"/>
                <a:gd name="T10" fmla="*/ 313 w 1293"/>
                <a:gd name="T11" fmla="*/ 647 h 1293"/>
                <a:gd name="T12" fmla="*/ 647 w 1293"/>
                <a:gd name="T13" fmla="*/ 313 h 1293"/>
                <a:gd name="T14" fmla="*/ 981 w 1293"/>
                <a:gd name="T15" fmla="*/ 647 h 1293"/>
                <a:gd name="T16" fmla="*/ 647 w 1293"/>
                <a:gd name="T17" fmla="*/ 981 h 1293"/>
                <a:gd name="T18" fmla="*/ 313 w 1293"/>
                <a:gd name="T19" fmla="*/ 647 h 1293"/>
                <a:gd name="T20" fmla="*/ 1037 w 1293"/>
                <a:gd name="T21" fmla="*/ 813 h 1293"/>
                <a:gd name="T22" fmla="*/ 1071 w 1293"/>
                <a:gd name="T23" fmla="*/ 647 h 1293"/>
                <a:gd name="T24" fmla="*/ 1037 w 1293"/>
                <a:gd name="T25" fmla="*/ 480 h 1293"/>
                <a:gd name="T26" fmla="*/ 1142 w 1293"/>
                <a:gd name="T27" fmla="*/ 376 h 1293"/>
                <a:gd name="T28" fmla="*/ 1211 w 1293"/>
                <a:gd name="T29" fmla="*/ 647 h 1293"/>
                <a:gd name="T30" fmla="*/ 1142 w 1293"/>
                <a:gd name="T31" fmla="*/ 917 h 1293"/>
                <a:gd name="T32" fmla="*/ 1037 w 1293"/>
                <a:gd name="T33" fmla="*/ 813 h 1293"/>
                <a:gd name="T34" fmla="*/ 917 w 1293"/>
                <a:gd name="T35" fmla="*/ 152 h 1293"/>
                <a:gd name="T36" fmla="*/ 813 w 1293"/>
                <a:gd name="T37" fmla="*/ 256 h 1293"/>
                <a:gd name="T38" fmla="*/ 647 w 1293"/>
                <a:gd name="T39" fmla="*/ 222 h 1293"/>
                <a:gd name="T40" fmla="*/ 480 w 1293"/>
                <a:gd name="T41" fmla="*/ 256 h 1293"/>
                <a:gd name="T42" fmla="*/ 376 w 1293"/>
                <a:gd name="T43" fmla="*/ 152 h 1293"/>
                <a:gd name="T44" fmla="*/ 647 w 1293"/>
                <a:gd name="T45" fmla="*/ 82 h 1293"/>
                <a:gd name="T46" fmla="*/ 917 w 1293"/>
                <a:gd name="T47" fmla="*/ 152 h 1293"/>
                <a:gd name="T48" fmla="*/ 152 w 1293"/>
                <a:gd name="T49" fmla="*/ 376 h 1293"/>
                <a:gd name="T50" fmla="*/ 256 w 1293"/>
                <a:gd name="T51" fmla="*/ 480 h 1293"/>
                <a:gd name="T52" fmla="*/ 222 w 1293"/>
                <a:gd name="T53" fmla="*/ 647 h 1293"/>
                <a:gd name="T54" fmla="*/ 256 w 1293"/>
                <a:gd name="T55" fmla="*/ 813 h 1293"/>
                <a:gd name="T56" fmla="*/ 152 w 1293"/>
                <a:gd name="T57" fmla="*/ 917 h 1293"/>
                <a:gd name="T58" fmla="*/ 82 w 1293"/>
                <a:gd name="T59" fmla="*/ 647 h 1293"/>
                <a:gd name="T60" fmla="*/ 152 w 1293"/>
                <a:gd name="T61" fmla="*/ 376 h 1293"/>
                <a:gd name="T62" fmla="*/ 376 w 1293"/>
                <a:gd name="T63" fmla="*/ 1142 h 1293"/>
                <a:gd name="T64" fmla="*/ 480 w 1293"/>
                <a:gd name="T65" fmla="*/ 1037 h 1293"/>
                <a:gd name="T66" fmla="*/ 647 w 1293"/>
                <a:gd name="T67" fmla="*/ 1071 h 1293"/>
                <a:gd name="T68" fmla="*/ 813 w 1293"/>
                <a:gd name="T69" fmla="*/ 1037 h 1293"/>
                <a:gd name="T70" fmla="*/ 917 w 1293"/>
                <a:gd name="T71" fmla="*/ 1142 h 1293"/>
                <a:gd name="T72" fmla="*/ 647 w 1293"/>
                <a:gd name="T73" fmla="*/ 1211 h 1293"/>
                <a:gd name="T74" fmla="*/ 376 w 1293"/>
                <a:gd name="T75" fmla="*/ 1142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93" h="1293">
                  <a:moveTo>
                    <a:pt x="647" y="0"/>
                  </a:moveTo>
                  <a:cubicBezTo>
                    <a:pt x="290" y="0"/>
                    <a:pt x="0" y="290"/>
                    <a:pt x="0" y="647"/>
                  </a:cubicBezTo>
                  <a:cubicBezTo>
                    <a:pt x="0" y="1003"/>
                    <a:pt x="290" y="1293"/>
                    <a:pt x="647" y="1293"/>
                  </a:cubicBezTo>
                  <a:cubicBezTo>
                    <a:pt x="1003" y="1293"/>
                    <a:pt x="1293" y="1003"/>
                    <a:pt x="1293" y="647"/>
                  </a:cubicBezTo>
                  <a:cubicBezTo>
                    <a:pt x="1293" y="290"/>
                    <a:pt x="1003" y="0"/>
                    <a:pt x="647" y="0"/>
                  </a:cubicBezTo>
                  <a:close/>
                  <a:moveTo>
                    <a:pt x="313" y="647"/>
                  </a:moveTo>
                  <a:cubicBezTo>
                    <a:pt x="313" y="463"/>
                    <a:pt x="463" y="313"/>
                    <a:pt x="647" y="313"/>
                  </a:cubicBezTo>
                  <a:cubicBezTo>
                    <a:pt x="831" y="313"/>
                    <a:pt x="981" y="463"/>
                    <a:pt x="981" y="647"/>
                  </a:cubicBezTo>
                  <a:cubicBezTo>
                    <a:pt x="981" y="831"/>
                    <a:pt x="831" y="981"/>
                    <a:pt x="647" y="981"/>
                  </a:cubicBezTo>
                  <a:cubicBezTo>
                    <a:pt x="463" y="981"/>
                    <a:pt x="313" y="831"/>
                    <a:pt x="313" y="647"/>
                  </a:cubicBezTo>
                  <a:close/>
                  <a:moveTo>
                    <a:pt x="1037" y="813"/>
                  </a:moveTo>
                  <a:cubicBezTo>
                    <a:pt x="1059" y="762"/>
                    <a:pt x="1071" y="706"/>
                    <a:pt x="1071" y="647"/>
                  </a:cubicBezTo>
                  <a:cubicBezTo>
                    <a:pt x="1071" y="588"/>
                    <a:pt x="1059" y="531"/>
                    <a:pt x="1037" y="480"/>
                  </a:cubicBezTo>
                  <a:lnTo>
                    <a:pt x="1142" y="376"/>
                  </a:lnTo>
                  <a:cubicBezTo>
                    <a:pt x="1186" y="456"/>
                    <a:pt x="1211" y="549"/>
                    <a:pt x="1211" y="647"/>
                  </a:cubicBezTo>
                  <a:cubicBezTo>
                    <a:pt x="1211" y="745"/>
                    <a:pt x="1186" y="837"/>
                    <a:pt x="1142" y="917"/>
                  </a:cubicBezTo>
                  <a:lnTo>
                    <a:pt x="1037" y="813"/>
                  </a:lnTo>
                  <a:close/>
                  <a:moveTo>
                    <a:pt x="917" y="152"/>
                  </a:moveTo>
                  <a:lnTo>
                    <a:pt x="813" y="256"/>
                  </a:lnTo>
                  <a:cubicBezTo>
                    <a:pt x="762" y="234"/>
                    <a:pt x="706" y="222"/>
                    <a:pt x="647" y="222"/>
                  </a:cubicBezTo>
                  <a:cubicBezTo>
                    <a:pt x="588" y="222"/>
                    <a:pt x="531" y="234"/>
                    <a:pt x="480" y="256"/>
                  </a:cubicBezTo>
                  <a:lnTo>
                    <a:pt x="376" y="152"/>
                  </a:lnTo>
                  <a:cubicBezTo>
                    <a:pt x="456" y="108"/>
                    <a:pt x="549" y="82"/>
                    <a:pt x="647" y="82"/>
                  </a:cubicBezTo>
                  <a:cubicBezTo>
                    <a:pt x="745" y="82"/>
                    <a:pt x="837" y="108"/>
                    <a:pt x="917" y="152"/>
                  </a:cubicBezTo>
                  <a:close/>
                  <a:moveTo>
                    <a:pt x="152" y="376"/>
                  </a:moveTo>
                  <a:lnTo>
                    <a:pt x="256" y="480"/>
                  </a:lnTo>
                  <a:cubicBezTo>
                    <a:pt x="234" y="531"/>
                    <a:pt x="222" y="588"/>
                    <a:pt x="222" y="647"/>
                  </a:cubicBezTo>
                  <a:cubicBezTo>
                    <a:pt x="222" y="706"/>
                    <a:pt x="234" y="762"/>
                    <a:pt x="256" y="813"/>
                  </a:cubicBezTo>
                  <a:lnTo>
                    <a:pt x="152" y="917"/>
                  </a:lnTo>
                  <a:cubicBezTo>
                    <a:pt x="108" y="837"/>
                    <a:pt x="82" y="745"/>
                    <a:pt x="82" y="647"/>
                  </a:cubicBezTo>
                  <a:cubicBezTo>
                    <a:pt x="82" y="549"/>
                    <a:pt x="108" y="456"/>
                    <a:pt x="152" y="376"/>
                  </a:cubicBezTo>
                  <a:close/>
                  <a:moveTo>
                    <a:pt x="376" y="1142"/>
                  </a:moveTo>
                  <a:lnTo>
                    <a:pt x="480" y="1037"/>
                  </a:lnTo>
                  <a:cubicBezTo>
                    <a:pt x="531" y="1059"/>
                    <a:pt x="588" y="1071"/>
                    <a:pt x="647" y="1071"/>
                  </a:cubicBezTo>
                  <a:cubicBezTo>
                    <a:pt x="706" y="1071"/>
                    <a:pt x="762" y="1059"/>
                    <a:pt x="813" y="1037"/>
                  </a:cubicBezTo>
                  <a:lnTo>
                    <a:pt x="917" y="1142"/>
                  </a:lnTo>
                  <a:cubicBezTo>
                    <a:pt x="837" y="1186"/>
                    <a:pt x="745" y="1211"/>
                    <a:pt x="647" y="1211"/>
                  </a:cubicBezTo>
                  <a:cubicBezTo>
                    <a:pt x="549" y="1211"/>
                    <a:pt x="456" y="1186"/>
                    <a:pt x="376" y="1142"/>
                  </a:cubicBezTo>
                  <a:close/>
                </a:path>
              </a:pathLst>
            </a:custGeom>
            <a:solidFill>
              <a:schemeClr val="bg1">
                <a:lumMod val="95000"/>
              </a:schemeClr>
            </a:solidFill>
            <a:ln>
              <a:noFill/>
            </a:ln>
          </p:spPr>
          <p:txBody>
            <a:bodyPr/>
            <a:lstStyle/>
            <a:p>
              <a:endParaRPr lang="zh-CN" altLang="en-US"/>
            </a:p>
          </p:txBody>
        </p:sp>
        <p:grpSp>
          <p:nvGrpSpPr>
            <p:cNvPr id="5" name="iś1ïḓê"/>
            <p:cNvGrpSpPr/>
            <p:nvPr/>
          </p:nvGrpSpPr>
          <p:grpSpPr>
            <a:xfrm>
              <a:off x="4878764" y="2145866"/>
              <a:ext cx="685796" cy="685798"/>
              <a:chOff x="5085001" y="2151309"/>
              <a:chExt cx="685796" cy="685798"/>
            </a:xfrm>
          </p:grpSpPr>
          <p:sp>
            <p:nvSpPr>
              <p:cNvPr id="26" name="isľíḓè"/>
              <p:cNvSpPr/>
              <p:nvPr/>
            </p:nvSpPr>
            <p:spPr>
              <a:xfrm>
                <a:off x="5085001" y="2151309"/>
                <a:ext cx="685796" cy="685798"/>
              </a:xfrm>
              <a:prstGeom prst="ellipse">
                <a:avLst/>
              </a:prstGeom>
              <a:solidFill>
                <a:schemeClr val="accent1"/>
              </a:solidFill>
              <a:ln w="5715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7" name="îṥľîḑé"/>
              <p:cNvSpPr/>
              <p:nvPr/>
            </p:nvSpPr>
            <p:spPr>
              <a:xfrm>
                <a:off x="5253268" y="2348770"/>
                <a:ext cx="349262" cy="290875"/>
              </a:xfrm>
              <a:custGeom>
                <a:avLst/>
                <a:gdLst>
                  <a:gd name="connsiteX0" fmla="*/ 246781 w 608274"/>
                  <a:gd name="connsiteY0" fmla="*/ 438498 h 506589"/>
                  <a:gd name="connsiteX1" fmla="*/ 246781 w 608274"/>
                  <a:gd name="connsiteY1" fmla="*/ 467297 h 506589"/>
                  <a:gd name="connsiteX2" fmla="*/ 300340 w 608274"/>
                  <a:gd name="connsiteY2" fmla="*/ 446881 h 506589"/>
                  <a:gd name="connsiteX3" fmla="*/ 213321 w 608274"/>
                  <a:gd name="connsiteY3" fmla="*/ 304884 h 506589"/>
                  <a:gd name="connsiteX4" fmla="*/ 33460 w 608274"/>
                  <a:gd name="connsiteY4" fmla="*/ 322334 h 506589"/>
                  <a:gd name="connsiteX5" fmla="*/ 33460 w 608274"/>
                  <a:gd name="connsiteY5" fmla="*/ 454352 h 506589"/>
                  <a:gd name="connsiteX6" fmla="*/ 213321 w 608274"/>
                  <a:gd name="connsiteY6" fmla="*/ 471802 h 506589"/>
                  <a:gd name="connsiteX7" fmla="*/ 228395 w 608274"/>
                  <a:gd name="connsiteY7" fmla="*/ 270439 h 506589"/>
                  <a:gd name="connsiteX8" fmla="*/ 241243 w 608274"/>
                  <a:gd name="connsiteY8" fmla="*/ 274602 h 506589"/>
                  <a:gd name="connsiteX9" fmla="*/ 246781 w 608274"/>
                  <a:gd name="connsiteY9" fmla="*/ 286749 h 506589"/>
                  <a:gd name="connsiteX10" fmla="*/ 246781 w 608274"/>
                  <a:gd name="connsiteY10" fmla="*/ 405252 h 506589"/>
                  <a:gd name="connsiteX11" fmla="*/ 366689 w 608274"/>
                  <a:gd name="connsiteY11" fmla="*/ 423957 h 506589"/>
                  <a:gd name="connsiteX12" fmla="*/ 380678 w 608274"/>
                  <a:gd name="connsiteY12" fmla="*/ 438441 h 506589"/>
                  <a:gd name="connsiteX13" fmla="*/ 370115 w 608274"/>
                  <a:gd name="connsiteY13" fmla="*/ 455493 h 506589"/>
                  <a:gd name="connsiteX14" fmla="*/ 236104 w 608274"/>
                  <a:gd name="connsiteY14" fmla="*/ 506589 h 506589"/>
                  <a:gd name="connsiteX15" fmla="*/ 235590 w 608274"/>
                  <a:gd name="connsiteY15" fmla="*/ 505334 h 506589"/>
                  <a:gd name="connsiteX16" fmla="*/ 230051 w 608274"/>
                  <a:gd name="connsiteY16" fmla="*/ 506304 h 506589"/>
                  <a:gd name="connsiteX17" fmla="*/ 228395 w 608274"/>
                  <a:gd name="connsiteY17" fmla="*/ 506247 h 506589"/>
                  <a:gd name="connsiteX18" fmla="*/ 15074 w 608274"/>
                  <a:gd name="connsiteY18" fmla="*/ 485546 h 506589"/>
                  <a:gd name="connsiteX19" fmla="*/ 0 w 608274"/>
                  <a:gd name="connsiteY19" fmla="*/ 469236 h 506589"/>
                  <a:gd name="connsiteX20" fmla="*/ 0 w 608274"/>
                  <a:gd name="connsiteY20" fmla="*/ 307450 h 506589"/>
                  <a:gd name="connsiteX21" fmla="*/ 15074 w 608274"/>
                  <a:gd name="connsiteY21" fmla="*/ 291083 h 506589"/>
                  <a:gd name="connsiteX22" fmla="*/ 362895 w 608274"/>
                  <a:gd name="connsiteY22" fmla="*/ 0 h 506589"/>
                  <a:gd name="connsiteX23" fmla="*/ 468824 w 608274"/>
                  <a:gd name="connsiteY23" fmla="*/ 90151 h 506589"/>
                  <a:gd name="connsiteX24" fmla="*/ 463285 w 608274"/>
                  <a:gd name="connsiteY24" fmla="*/ 153046 h 506589"/>
                  <a:gd name="connsiteX25" fmla="*/ 429822 w 608274"/>
                  <a:gd name="connsiteY25" fmla="*/ 235157 h 506589"/>
                  <a:gd name="connsiteX26" fmla="*/ 485556 w 608274"/>
                  <a:gd name="connsiteY26" fmla="*/ 284366 h 506589"/>
                  <a:gd name="connsiteX27" fmla="*/ 580407 w 608274"/>
                  <a:gd name="connsiteY27" fmla="*/ 317210 h 506589"/>
                  <a:gd name="connsiteX28" fmla="*/ 608274 w 608274"/>
                  <a:gd name="connsiteY28" fmla="*/ 388316 h 506589"/>
                  <a:gd name="connsiteX29" fmla="*/ 608274 w 608274"/>
                  <a:gd name="connsiteY29" fmla="*/ 480691 h 506589"/>
                  <a:gd name="connsiteX30" fmla="*/ 391162 w 608274"/>
                  <a:gd name="connsiteY30" fmla="*/ 480691 h 506589"/>
                  <a:gd name="connsiteX31" fmla="*/ 412805 w 608274"/>
                  <a:gd name="connsiteY31" fmla="*/ 434960 h 506589"/>
                  <a:gd name="connsiteX32" fmla="*/ 370776 w 608274"/>
                  <a:gd name="connsiteY32" fmla="*/ 391566 h 506589"/>
                  <a:gd name="connsiteX33" fmla="*/ 279065 w 608274"/>
                  <a:gd name="connsiteY33" fmla="*/ 377254 h 506589"/>
                  <a:gd name="connsiteX34" fmla="*/ 279065 w 608274"/>
                  <a:gd name="connsiteY34" fmla="*/ 286761 h 506589"/>
                  <a:gd name="connsiteX35" fmla="*/ 275810 w 608274"/>
                  <a:gd name="connsiteY35" fmla="*/ 269997 h 506589"/>
                  <a:gd name="connsiteX36" fmla="*/ 295968 w 608274"/>
                  <a:gd name="connsiteY36" fmla="*/ 235157 h 506589"/>
                  <a:gd name="connsiteX37" fmla="*/ 262505 w 608274"/>
                  <a:gd name="connsiteY37" fmla="*/ 153046 h 506589"/>
                  <a:gd name="connsiteX38" fmla="*/ 256909 w 608274"/>
                  <a:gd name="connsiteY38" fmla="*/ 90151 h 506589"/>
                  <a:gd name="connsiteX39" fmla="*/ 362895 w 608274"/>
                  <a:gd name="connsiteY39" fmla="*/ 0 h 50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274" h="506589">
                    <a:moveTo>
                      <a:pt x="246781" y="438498"/>
                    </a:moveTo>
                    <a:lnTo>
                      <a:pt x="246781" y="467297"/>
                    </a:lnTo>
                    <a:lnTo>
                      <a:pt x="300340" y="446881"/>
                    </a:lnTo>
                    <a:close/>
                    <a:moveTo>
                      <a:pt x="213321" y="304884"/>
                    </a:moveTo>
                    <a:lnTo>
                      <a:pt x="33460" y="322334"/>
                    </a:lnTo>
                    <a:lnTo>
                      <a:pt x="33460" y="454352"/>
                    </a:lnTo>
                    <a:lnTo>
                      <a:pt x="213321" y="471802"/>
                    </a:lnTo>
                    <a:close/>
                    <a:moveTo>
                      <a:pt x="228395" y="270439"/>
                    </a:moveTo>
                    <a:cubicBezTo>
                      <a:pt x="233077" y="269983"/>
                      <a:pt x="237760" y="271466"/>
                      <a:pt x="241243" y="274602"/>
                    </a:cubicBezTo>
                    <a:cubicBezTo>
                      <a:pt x="244783" y="277739"/>
                      <a:pt x="246781" y="282130"/>
                      <a:pt x="246781" y="286749"/>
                    </a:cubicBezTo>
                    <a:lnTo>
                      <a:pt x="246781" y="405252"/>
                    </a:lnTo>
                    <a:lnTo>
                      <a:pt x="366689" y="423957"/>
                    </a:lnTo>
                    <a:cubicBezTo>
                      <a:pt x="374111" y="425154"/>
                      <a:pt x="379878" y="431085"/>
                      <a:pt x="380678" y="438441"/>
                    </a:cubicBezTo>
                    <a:cubicBezTo>
                      <a:pt x="381477" y="445798"/>
                      <a:pt x="377138" y="452812"/>
                      <a:pt x="370115" y="455493"/>
                    </a:cubicBezTo>
                    <a:lnTo>
                      <a:pt x="236104" y="506589"/>
                    </a:lnTo>
                    <a:lnTo>
                      <a:pt x="235590" y="505334"/>
                    </a:lnTo>
                    <a:cubicBezTo>
                      <a:pt x="233820" y="505962"/>
                      <a:pt x="231936" y="506304"/>
                      <a:pt x="230051" y="506304"/>
                    </a:cubicBezTo>
                    <a:cubicBezTo>
                      <a:pt x="229480" y="506304"/>
                      <a:pt x="228966" y="506304"/>
                      <a:pt x="228395" y="506247"/>
                    </a:cubicBezTo>
                    <a:lnTo>
                      <a:pt x="15074" y="485546"/>
                    </a:lnTo>
                    <a:cubicBezTo>
                      <a:pt x="6509" y="484748"/>
                      <a:pt x="0" y="477676"/>
                      <a:pt x="0" y="469236"/>
                    </a:cubicBezTo>
                    <a:lnTo>
                      <a:pt x="0" y="307450"/>
                    </a:lnTo>
                    <a:cubicBezTo>
                      <a:pt x="0" y="299010"/>
                      <a:pt x="6509" y="291938"/>
                      <a:pt x="15074" y="291083"/>
                    </a:cubicBezTo>
                    <a:close/>
                    <a:moveTo>
                      <a:pt x="362895" y="0"/>
                    </a:moveTo>
                    <a:cubicBezTo>
                      <a:pt x="454777" y="0"/>
                      <a:pt x="466369" y="64320"/>
                      <a:pt x="468824" y="90151"/>
                    </a:cubicBezTo>
                    <a:cubicBezTo>
                      <a:pt x="468824" y="90151"/>
                      <a:pt x="507884" y="131206"/>
                      <a:pt x="463285" y="153046"/>
                    </a:cubicBezTo>
                    <a:cubicBezTo>
                      <a:pt x="463285" y="153046"/>
                      <a:pt x="463285" y="205049"/>
                      <a:pt x="429822" y="235157"/>
                    </a:cubicBezTo>
                    <a:cubicBezTo>
                      <a:pt x="429822" y="235157"/>
                      <a:pt x="401898" y="257053"/>
                      <a:pt x="485556" y="284366"/>
                    </a:cubicBezTo>
                    <a:lnTo>
                      <a:pt x="580407" y="317210"/>
                    </a:lnTo>
                    <a:cubicBezTo>
                      <a:pt x="580407" y="317210"/>
                      <a:pt x="608274" y="317210"/>
                      <a:pt x="608274" y="388316"/>
                    </a:cubicBezTo>
                    <a:lnTo>
                      <a:pt x="608274" y="480691"/>
                    </a:lnTo>
                    <a:lnTo>
                      <a:pt x="391162" y="480691"/>
                    </a:lnTo>
                    <a:cubicBezTo>
                      <a:pt x="406123" y="470598"/>
                      <a:pt x="414803" y="453207"/>
                      <a:pt x="412805" y="434960"/>
                    </a:cubicBezTo>
                    <a:cubicBezTo>
                      <a:pt x="410406" y="412892"/>
                      <a:pt x="393161" y="395045"/>
                      <a:pt x="370776" y="391566"/>
                    </a:cubicBezTo>
                    <a:lnTo>
                      <a:pt x="279065" y="377254"/>
                    </a:lnTo>
                    <a:lnTo>
                      <a:pt x="279065" y="286761"/>
                    </a:lnTo>
                    <a:cubicBezTo>
                      <a:pt x="279065" y="280945"/>
                      <a:pt x="277809" y="275357"/>
                      <a:pt x="275810" y="269997"/>
                    </a:cubicBezTo>
                    <a:cubicBezTo>
                      <a:pt x="314470" y="249754"/>
                      <a:pt x="295968" y="235157"/>
                      <a:pt x="295968" y="235157"/>
                    </a:cubicBezTo>
                    <a:cubicBezTo>
                      <a:pt x="262505" y="205049"/>
                      <a:pt x="262505" y="153046"/>
                      <a:pt x="262505" y="153046"/>
                    </a:cubicBezTo>
                    <a:cubicBezTo>
                      <a:pt x="217906" y="131206"/>
                      <a:pt x="256909" y="90151"/>
                      <a:pt x="256909" y="90151"/>
                    </a:cubicBezTo>
                    <a:cubicBezTo>
                      <a:pt x="259421" y="64320"/>
                      <a:pt x="277010" y="0"/>
                      <a:pt x="362895" y="0"/>
                    </a:cubicBezTo>
                    <a:close/>
                  </a:path>
                </a:pathLst>
              </a:custGeom>
              <a:solidFill>
                <a:schemeClr val="bg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
          <p:nvSpPr>
            <p:cNvPr id="6" name="í$ľiḓé"/>
            <p:cNvSpPr/>
            <p:nvPr/>
          </p:nvSpPr>
          <p:spPr>
            <a:xfrm>
              <a:off x="1851980" y="2250799"/>
              <a:ext cx="2276675" cy="1128375"/>
            </a:xfrm>
            <a:prstGeom prst="snip2SameRect">
              <a:avLst>
                <a:gd name="adj1" fmla="val 0"/>
                <a:gd name="adj2" fmla="val 0"/>
              </a:avLst>
            </a:prstGeom>
            <a:ln>
              <a:noFill/>
            </a:ln>
          </p:spPr>
          <p:txBody>
            <a:bodyPr wrap="square" lIns="91440" tIns="45720" rIns="91440" bIns="45720" anchor="t">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2720" indent="-172720">
                <a:lnSpc>
                  <a:spcPct val="120000"/>
                </a:lnSpc>
                <a:buFont typeface="Arial" panose="020B0604020202020204" pitchFamily="34" charset="0"/>
                <a:buChar char="•"/>
              </a:pPr>
              <a:r>
                <a:rPr lang="zh-CN" altLang="en-US" sz="1400" dirty="0"/>
                <a:t>重点支持制造业、住宿餐饮、交通运输、文化旅游、外贸、批发零售等行业</a:t>
              </a:r>
              <a:endParaRPr lang="en-US" altLang="zh-CN" sz="1400" dirty="0"/>
            </a:p>
          </p:txBody>
        </p:sp>
        <p:sp>
          <p:nvSpPr>
            <p:cNvPr id="7" name="ïṩľîdè"/>
            <p:cNvSpPr txBox="1"/>
            <p:nvPr/>
          </p:nvSpPr>
          <p:spPr bwMode="auto">
            <a:xfrm>
              <a:off x="1851980" y="1718571"/>
              <a:ext cx="2908313"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b="1" dirty="0">
                  <a:solidFill>
                    <a:srgbClr val="C00000"/>
                  </a:solidFill>
                </a:rPr>
                <a:t>优先保障</a:t>
              </a:r>
              <a:endParaRPr lang="en-US" altLang="zh-CN" b="1" dirty="0">
                <a:solidFill>
                  <a:srgbClr val="C00000"/>
                </a:solidFill>
              </a:endParaRPr>
            </a:p>
          </p:txBody>
        </p:sp>
        <p:sp>
          <p:nvSpPr>
            <p:cNvPr id="8" name="iś1ïḓe"/>
            <p:cNvSpPr/>
            <p:nvPr/>
          </p:nvSpPr>
          <p:spPr>
            <a:xfrm>
              <a:off x="1851980" y="4391103"/>
              <a:ext cx="2276675" cy="1128375"/>
            </a:xfrm>
            <a:prstGeom prst="snip2SameRect">
              <a:avLst>
                <a:gd name="adj1" fmla="val 0"/>
                <a:gd name="adj2" fmla="val 0"/>
              </a:avLst>
            </a:prstGeom>
            <a:ln>
              <a:noFill/>
            </a:ln>
          </p:spPr>
          <p:txBody>
            <a:bodyPr wrap="square" lIns="91440" tIns="45720" rIns="91440" bIns="45720" anchor="t">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2720" indent="-172720">
                <a:lnSpc>
                  <a:spcPct val="120000"/>
                </a:lnSpc>
                <a:buFont typeface="Arial" panose="020B0604020202020204" pitchFamily="34" charset="0"/>
                <a:buChar char="•"/>
              </a:pPr>
              <a:r>
                <a:rPr lang="zh-CN" altLang="en-US" sz="1400" dirty="0">
                  <a:latin typeface="+mn-ea"/>
                </a:rPr>
                <a:t>专人跟进，手续简便</a:t>
              </a:r>
              <a:endParaRPr lang="en-US" altLang="zh-CN" sz="1400" dirty="0">
                <a:latin typeface="+mn-ea"/>
              </a:endParaRPr>
            </a:p>
            <a:p>
              <a:pPr marL="172720" indent="-172720">
                <a:lnSpc>
                  <a:spcPct val="120000"/>
                </a:lnSpc>
                <a:buFont typeface="Arial" panose="020B0604020202020204" pitchFamily="34" charset="0"/>
                <a:buChar char="•"/>
              </a:pPr>
              <a:r>
                <a:rPr lang="zh-CN" altLang="en-US" sz="1400" dirty="0">
                  <a:latin typeface="+mn-ea"/>
                </a:rPr>
                <a:t>快速审批，急您所需</a:t>
              </a:r>
              <a:endParaRPr lang="en-US" altLang="zh-CN" sz="1400" dirty="0">
                <a:latin typeface="+mn-ea"/>
              </a:endParaRPr>
            </a:p>
          </p:txBody>
        </p:sp>
        <p:sp>
          <p:nvSpPr>
            <p:cNvPr id="9" name="íṩlîďè"/>
            <p:cNvSpPr txBox="1"/>
            <p:nvPr/>
          </p:nvSpPr>
          <p:spPr bwMode="auto">
            <a:xfrm>
              <a:off x="1851980" y="3909115"/>
              <a:ext cx="2908313"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zh-CN" b="1" dirty="0">
                  <a:solidFill>
                    <a:srgbClr val="C00000"/>
                  </a:solidFill>
                </a:rPr>
                <a:t>快速受理</a:t>
              </a:r>
              <a:endParaRPr lang="zh-CN" altLang="zh-CN" dirty="0">
                <a:solidFill>
                  <a:srgbClr val="C00000"/>
                </a:solidFill>
              </a:endParaRPr>
            </a:p>
          </p:txBody>
        </p:sp>
        <p:cxnSp>
          <p:nvCxnSpPr>
            <p:cNvPr id="10" name="直接连接符 9"/>
            <p:cNvCxnSpPr/>
            <p:nvPr/>
          </p:nvCxnSpPr>
          <p:spPr>
            <a:xfrm>
              <a:off x="1851980" y="3398092"/>
              <a:ext cx="1921736"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1" name="iş1iḑè"/>
            <p:cNvSpPr/>
            <p:nvPr/>
          </p:nvSpPr>
          <p:spPr>
            <a:xfrm>
              <a:off x="8394462" y="2250799"/>
              <a:ext cx="3495585" cy="1128375"/>
            </a:xfrm>
            <a:prstGeom prst="snip2SameRect">
              <a:avLst>
                <a:gd name="adj1" fmla="val 0"/>
                <a:gd name="adj2" fmla="val 0"/>
              </a:avLst>
            </a:prstGeom>
            <a:ln>
              <a:noFill/>
            </a:ln>
          </p:spPr>
          <p:txBody>
            <a:bodyPr wrap="square" lIns="91440" tIns="45720" rIns="91440" bIns="45720" anchor="t">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2720" indent="-172720">
                <a:lnSpc>
                  <a:spcPct val="120000"/>
                </a:lnSpc>
                <a:buFont typeface="Arial" panose="020B0604020202020204" pitchFamily="34" charset="0"/>
                <a:buChar char="•"/>
              </a:pPr>
              <a:r>
                <a:rPr lang="zh-CN" altLang="en-US" sz="1400" dirty="0">
                  <a:latin typeface="+mn-ea"/>
                </a:rPr>
                <a:t>小微专享利率优惠</a:t>
              </a:r>
              <a:endParaRPr lang="en-US" altLang="zh-CN" sz="1400" dirty="0">
                <a:latin typeface="+mn-ea"/>
              </a:endParaRPr>
            </a:p>
            <a:p>
              <a:pPr marL="172720" indent="-172720">
                <a:lnSpc>
                  <a:spcPct val="120000"/>
                </a:lnSpc>
                <a:buFont typeface="Arial" panose="020B0604020202020204" pitchFamily="34" charset="0"/>
                <a:buChar char="•"/>
              </a:pPr>
              <a:r>
                <a:rPr lang="zh-CN" altLang="en-US" sz="1400" dirty="0">
                  <a:latin typeface="+mn-ea"/>
                </a:rPr>
                <a:t>额度有限，用完为止。</a:t>
              </a:r>
              <a:endParaRPr lang="zh-CN" altLang="en-US" sz="1400" dirty="0">
                <a:latin typeface="+mn-ea"/>
              </a:endParaRPr>
            </a:p>
          </p:txBody>
        </p:sp>
        <p:sp>
          <p:nvSpPr>
            <p:cNvPr id="12" name="ï$1îḍè"/>
            <p:cNvSpPr txBox="1"/>
            <p:nvPr/>
          </p:nvSpPr>
          <p:spPr bwMode="auto">
            <a:xfrm>
              <a:off x="8394462" y="1718571"/>
              <a:ext cx="2906725"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zh-CN" b="1" dirty="0">
                  <a:solidFill>
                    <a:srgbClr val="C00000"/>
                  </a:solidFill>
                </a:rPr>
                <a:t>利率优惠</a:t>
              </a:r>
              <a:endParaRPr lang="zh-CN" altLang="zh-CN" dirty="0">
                <a:solidFill>
                  <a:srgbClr val="C00000"/>
                </a:solidFill>
              </a:endParaRPr>
            </a:p>
          </p:txBody>
        </p:sp>
        <p:sp>
          <p:nvSpPr>
            <p:cNvPr id="13" name="ísḻíďê"/>
            <p:cNvSpPr/>
            <p:nvPr/>
          </p:nvSpPr>
          <p:spPr>
            <a:xfrm>
              <a:off x="8394461" y="4441343"/>
              <a:ext cx="3443103" cy="1791910"/>
            </a:xfrm>
            <a:prstGeom prst="snip2SameRect">
              <a:avLst>
                <a:gd name="adj1" fmla="val 0"/>
                <a:gd name="adj2" fmla="val 0"/>
              </a:avLst>
            </a:prstGeom>
            <a:ln>
              <a:noFill/>
            </a:ln>
          </p:spPr>
          <p:txBody>
            <a:bodyPr wrap="square" lIns="91440" tIns="45720" rIns="91440" bIns="45720" anchor="t">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2720" indent="-172720">
                <a:lnSpc>
                  <a:spcPct val="120000"/>
                </a:lnSpc>
                <a:buFont typeface="Arial" panose="020B0604020202020204" pitchFamily="34" charset="0"/>
                <a:buChar char="•"/>
              </a:pPr>
              <a:r>
                <a:rPr lang="zh-CN" altLang="en-US" sz="1400" b="1" dirty="0">
                  <a:latin typeface="+mn-ea"/>
                </a:rPr>
                <a:t>企业</a:t>
              </a:r>
              <a:r>
                <a:rPr lang="zh-CN" altLang="en-US" sz="1400" dirty="0">
                  <a:latin typeface="+mn-ea"/>
                </a:rPr>
                <a:t>符合条件的，可申请“四位一体”扶持政策，最高按基准利率利息</a:t>
              </a:r>
              <a:r>
                <a:rPr lang="zh-CN" altLang="en-US" sz="1400" dirty="0">
                  <a:solidFill>
                    <a:srgbClr val="C00000"/>
                  </a:solidFill>
                  <a:latin typeface="+mn-ea"/>
                </a:rPr>
                <a:t>的</a:t>
              </a:r>
              <a:r>
                <a:rPr lang="en-US" altLang="zh-CN" sz="1400" dirty="0">
                  <a:solidFill>
                    <a:srgbClr val="C00000"/>
                  </a:solidFill>
                  <a:latin typeface="+mn-ea"/>
                </a:rPr>
                <a:t>50%</a:t>
              </a:r>
              <a:r>
                <a:rPr lang="zh-CN" altLang="en-US" sz="1400" dirty="0">
                  <a:latin typeface="+mn-ea"/>
                </a:rPr>
                <a:t>给予贴息，单个企业</a:t>
              </a:r>
              <a:r>
                <a:rPr lang="zh-CN" altLang="en-US" sz="1400" dirty="0">
                  <a:solidFill>
                    <a:srgbClr val="C00000"/>
                  </a:solidFill>
                  <a:latin typeface="+mn-ea"/>
                </a:rPr>
                <a:t>最高</a:t>
              </a:r>
              <a:r>
                <a:rPr lang="en-US" altLang="zh-CN" sz="1400" dirty="0">
                  <a:solidFill>
                    <a:srgbClr val="C00000"/>
                  </a:solidFill>
                  <a:latin typeface="+mn-ea"/>
                </a:rPr>
                <a:t>50</a:t>
              </a:r>
              <a:r>
                <a:rPr lang="zh-CN" altLang="en-US" sz="1400" dirty="0">
                  <a:solidFill>
                    <a:srgbClr val="C00000"/>
                  </a:solidFill>
                  <a:latin typeface="+mn-ea"/>
                </a:rPr>
                <a:t>万</a:t>
              </a:r>
              <a:endParaRPr lang="en-US" altLang="zh-CN" sz="1400" dirty="0">
                <a:solidFill>
                  <a:srgbClr val="C00000"/>
                </a:solidFill>
                <a:latin typeface="+mn-ea"/>
              </a:endParaRPr>
            </a:p>
            <a:p>
              <a:pPr marL="172720" indent="-172720">
                <a:lnSpc>
                  <a:spcPct val="120000"/>
                </a:lnSpc>
                <a:buFont typeface="Arial" panose="020B0604020202020204" pitchFamily="34" charset="0"/>
                <a:buChar char="•"/>
              </a:pPr>
              <a:r>
                <a:rPr lang="zh-CN" altLang="en-US" sz="1400" b="1" dirty="0">
                  <a:latin typeface="+mn-ea"/>
                </a:rPr>
                <a:t>个体工商户</a:t>
              </a:r>
              <a:r>
                <a:rPr lang="zh-CN" altLang="en-US" sz="1400" dirty="0">
                  <a:latin typeface="+mn-ea"/>
                </a:rPr>
                <a:t>注册在香洲区的，可申请香洲区疫情贴息政策，按</a:t>
              </a:r>
              <a:r>
                <a:rPr lang="en-US" altLang="zh-CN" sz="1400" dirty="0">
                  <a:solidFill>
                    <a:srgbClr val="C00000"/>
                  </a:solidFill>
                  <a:latin typeface="+mn-ea"/>
                </a:rPr>
                <a:t>LPR</a:t>
              </a:r>
              <a:r>
                <a:rPr lang="zh-CN" altLang="en-US" sz="1400" dirty="0">
                  <a:solidFill>
                    <a:srgbClr val="C00000"/>
                  </a:solidFill>
                  <a:latin typeface="+mn-ea"/>
                </a:rPr>
                <a:t>的</a:t>
              </a:r>
              <a:r>
                <a:rPr lang="en-US" altLang="zh-CN" sz="1400" dirty="0">
                  <a:solidFill>
                    <a:srgbClr val="C00000"/>
                  </a:solidFill>
                  <a:latin typeface="+mn-ea"/>
                </a:rPr>
                <a:t>50%</a:t>
              </a:r>
              <a:r>
                <a:rPr lang="zh-CN" altLang="en-US" sz="1400" dirty="0">
                  <a:latin typeface="+mn-ea"/>
                </a:rPr>
                <a:t>给予利息补贴，单个借款主体贴息</a:t>
              </a:r>
              <a:r>
                <a:rPr lang="zh-CN" altLang="en-US" sz="1400" dirty="0">
                  <a:solidFill>
                    <a:srgbClr val="C00000"/>
                  </a:solidFill>
                  <a:latin typeface="+mn-ea"/>
                </a:rPr>
                <a:t>最高</a:t>
              </a:r>
              <a:r>
                <a:rPr lang="en-US" altLang="zh-CN" sz="1400" dirty="0">
                  <a:solidFill>
                    <a:srgbClr val="C00000"/>
                  </a:solidFill>
                  <a:latin typeface="+mn-ea"/>
                </a:rPr>
                <a:t>20</a:t>
              </a:r>
              <a:r>
                <a:rPr lang="zh-CN" altLang="en-US" sz="1400" dirty="0">
                  <a:solidFill>
                    <a:srgbClr val="C00000"/>
                  </a:solidFill>
                  <a:latin typeface="+mn-ea"/>
                </a:rPr>
                <a:t>万</a:t>
              </a:r>
              <a:endParaRPr lang="en-US" altLang="zh-CN" sz="1400" dirty="0">
                <a:solidFill>
                  <a:srgbClr val="C00000"/>
                </a:solidFill>
                <a:latin typeface="+mn-ea"/>
              </a:endParaRPr>
            </a:p>
          </p:txBody>
        </p:sp>
        <p:sp>
          <p:nvSpPr>
            <p:cNvPr id="14" name="iṩ1idé"/>
            <p:cNvSpPr txBox="1"/>
            <p:nvPr/>
          </p:nvSpPr>
          <p:spPr bwMode="auto">
            <a:xfrm>
              <a:off x="8394462" y="3909115"/>
              <a:ext cx="2906725"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b="1" dirty="0">
                  <a:solidFill>
                    <a:srgbClr val="C00000"/>
                  </a:solidFill>
                </a:rPr>
                <a:t>贴息支持</a:t>
              </a:r>
              <a:endParaRPr lang="en-US" altLang="zh-CN" b="1" dirty="0">
                <a:solidFill>
                  <a:srgbClr val="C00000"/>
                </a:solidFill>
              </a:endParaRPr>
            </a:p>
          </p:txBody>
        </p:sp>
        <p:cxnSp>
          <p:nvCxnSpPr>
            <p:cNvPr id="15" name="直接连接符 14"/>
            <p:cNvCxnSpPr/>
            <p:nvPr/>
          </p:nvCxnSpPr>
          <p:spPr>
            <a:xfrm>
              <a:off x="8398013" y="3398092"/>
              <a:ext cx="1921736"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16" name="i$ļiḑè"/>
            <p:cNvGrpSpPr/>
            <p:nvPr/>
          </p:nvGrpSpPr>
          <p:grpSpPr>
            <a:xfrm>
              <a:off x="4878764" y="4000605"/>
              <a:ext cx="685796" cy="685798"/>
              <a:chOff x="5107953" y="3953007"/>
              <a:chExt cx="685796" cy="685798"/>
            </a:xfrm>
          </p:grpSpPr>
          <p:sp>
            <p:nvSpPr>
              <p:cNvPr id="24" name="iṣḻíde"/>
              <p:cNvSpPr/>
              <p:nvPr/>
            </p:nvSpPr>
            <p:spPr>
              <a:xfrm>
                <a:off x="5107953" y="3953007"/>
                <a:ext cx="685796" cy="685798"/>
              </a:xfrm>
              <a:prstGeom prst="ellipse">
                <a:avLst/>
              </a:prstGeom>
              <a:solidFill>
                <a:schemeClr val="accent4"/>
              </a:solidFill>
              <a:ln w="5715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5" name="îŝľidê"/>
              <p:cNvSpPr/>
              <p:nvPr/>
            </p:nvSpPr>
            <p:spPr>
              <a:xfrm>
                <a:off x="5276220" y="4150468"/>
                <a:ext cx="349262" cy="290875"/>
              </a:xfrm>
              <a:custGeom>
                <a:avLst/>
                <a:gdLst>
                  <a:gd name="connsiteX0" fmla="*/ 246781 w 608274"/>
                  <a:gd name="connsiteY0" fmla="*/ 438498 h 506589"/>
                  <a:gd name="connsiteX1" fmla="*/ 246781 w 608274"/>
                  <a:gd name="connsiteY1" fmla="*/ 467297 h 506589"/>
                  <a:gd name="connsiteX2" fmla="*/ 300340 w 608274"/>
                  <a:gd name="connsiteY2" fmla="*/ 446881 h 506589"/>
                  <a:gd name="connsiteX3" fmla="*/ 213321 w 608274"/>
                  <a:gd name="connsiteY3" fmla="*/ 304884 h 506589"/>
                  <a:gd name="connsiteX4" fmla="*/ 33460 w 608274"/>
                  <a:gd name="connsiteY4" fmla="*/ 322334 h 506589"/>
                  <a:gd name="connsiteX5" fmla="*/ 33460 w 608274"/>
                  <a:gd name="connsiteY5" fmla="*/ 454352 h 506589"/>
                  <a:gd name="connsiteX6" fmla="*/ 213321 w 608274"/>
                  <a:gd name="connsiteY6" fmla="*/ 471802 h 506589"/>
                  <a:gd name="connsiteX7" fmla="*/ 228395 w 608274"/>
                  <a:gd name="connsiteY7" fmla="*/ 270439 h 506589"/>
                  <a:gd name="connsiteX8" fmla="*/ 241243 w 608274"/>
                  <a:gd name="connsiteY8" fmla="*/ 274602 h 506589"/>
                  <a:gd name="connsiteX9" fmla="*/ 246781 w 608274"/>
                  <a:gd name="connsiteY9" fmla="*/ 286749 h 506589"/>
                  <a:gd name="connsiteX10" fmla="*/ 246781 w 608274"/>
                  <a:gd name="connsiteY10" fmla="*/ 405252 h 506589"/>
                  <a:gd name="connsiteX11" fmla="*/ 366689 w 608274"/>
                  <a:gd name="connsiteY11" fmla="*/ 423957 h 506589"/>
                  <a:gd name="connsiteX12" fmla="*/ 380678 w 608274"/>
                  <a:gd name="connsiteY12" fmla="*/ 438441 h 506589"/>
                  <a:gd name="connsiteX13" fmla="*/ 370115 w 608274"/>
                  <a:gd name="connsiteY13" fmla="*/ 455493 h 506589"/>
                  <a:gd name="connsiteX14" fmla="*/ 236104 w 608274"/>
                  <a:gd name="connsiteY14" fmla="*/ 506589 h 506589"/>
                  <a:gd name="connsiteX15" fmla="*/ 235590 w 608274"/>
                  <a:gd name="connsiteY15" fmla="*/ 505334 h 506589"/>
                  <a:gd name="connsiteX16" fmla="*/ 230051 w 608274"/>
                  <a:gd name="connsiteY16" fmla="*/ 506304 h 506589"/>
                  <a:gd name="connsiteX17" fmla="*/ 228395 w 608274"/>
                  <a:gd name="connsiteY17" fmla="*/ 506247 h 506589"/>
                  <a:gd name="connsiteX18" fmla="*/ 15074 w 608274"/>
                  <a:gd name="connsiteY18" fmla="*/ 485546 h 506589"/>
                  <a:gd name="connsiteX19" fmla="*/ 0 w 608274"/>
                  <a:gd name="connsiteY19" fmla="*/ 469236 h 506589"/>
                  <a:gd name="connsiteX20" fmla="*/ 0 w 608274"/>
                  <a:gd name="connsiteY20" fmla="*/ 307450 h 506589"/>
                  <a:gd name="connsiteX21" fmla="*/ 15074 w 608274"/>
                  <a:gd name="connsiteY21" fmla="*/ 291083 h 506589"/>
                  <a:gd name="connsiteX22" fmla="*/ 362895 w 608274"/>
                  <a:gd name="connsiteY22" fmla="*/ 0 h 506589"/>
                  <a:gd name="connsiteX23" fmla="*/ 468824 w 608274"/>
                  <a:gd name="connsiteY23" fmla="*/ 90151 h 506589"/>
                  <a:gd name="connsiteX24" fmla="*/ 463285 w 608274"/>
                  <a:gd name="connsiteY24" fmla="*/ 153046 h 506589"/>
                  <a:gd name="connsiteX25" fmla="*/ 429822 w 608274"/>
                  <a:gd name="connsiteY25" fmla="*/ 235157 h 506589"/>
                  <a:gd name="connsiteX26" fmla="*/ 485556 w 608274"/>
                  <a:gd name="connsiteY26" fmla="*/ 284366 h 506589"/>
                  <a:gd name="connsiteX27" fmla="*/ 580407 w 608274"/>
                  <a:gd name="connsiteY27" fmla="*/ 317210 h 506589"/>
                  <a:gd name="connsiteX28" fmla="*/ 608274 w 608274"/>
                  <a:gd name="connsiteY28" fmla="*/ 388316 h 506589"/>
                  <a:gd name="connsiteX29" fmla="*/ 608274 w 608274"/>
                  <a:gd name="connsiteY29" fmla="*/ 480691 h 506589"/>
                  <a:gd name="connsiteX30" fmla="*/ 391162 w 608274"/>
                  <a:gd name="connsiteY30" fmla="*/ 480691 h 506589"/>
                  <a:gd name="connsiteX31" fmla="*/ 412805 w 608274"/>
                  <a:gd name="connsiteY31" fmla="*/ 434960 h 506589"/>
                  <a:gd name="connsiteX32" fmla="*/ 370776 w 608274"/>
                  <a:gd name="connsiteY32" fmla="*/ 391566 h 506589"/>
                  <a:gd name="connsiteX33" fmla="*/ 279065 w 608274"/>
                  <a:gd name="connsiteY33" fmla="*/ 377254 h 506589"/>
                  <a:gd name="connsiteX34" fmla="*/ 279065 w 608274"/>
                  <a:gd name="connsiteY34" fmla="*/ 286761 h 506589"/>
                  <a:gd name="connsiteX35" fmla="*/ 275810 w 608274"/>
                  <a:gd name="connsiteY35" fmla="*/ 269997 h 506589"/>
                  <a:gd name="connsiteX36" fmla="*/ 295968 w 608274"/>
                  <a:gd name="connsiteY36" fmla="*/ 235157 h 506589"/>
                  <a:gd name="connsiteX37" fmla="*/ 262505 w 608274"/>
                  <a:gd name="connsiteY37" fmla="*/ 153046 h 506589"/>
                  <a:gd name="connsiteX38" fmla="*/ 256909 w 608274"/>
                  <a:gd name="connsiteY38" fmla="*/ 90151 h 506589"/>
                  <a:gd name="connsiteX39" fmla="*/ 362895 w 608274"/>
                  <a:gd name="connsiteY39" fmla="*/ 0 h 50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274" h="506589">
                    <a:moveTo>
                      <a:pt x="246781" y="438498"/>
                    </a:moveTo>
                    <a:lnTo>
                      <a:pt x="246781" y="467297"/>
                    </a:lnTo>
                    <a:lnTo>
                      <a:pt x="300340" y="446881"/>
                    </a:lnTo>
                    <a:close/>
                    <a:moveTo>
                      <a:pt x="213321" y="304884"/>
                    </a:moveTo>
                    <a:lnTo>
                      <a:pt x="33460" y="322334"/>
                    </a:lnTo>
                    <a:lnTo>
                      <a:pt x="33460" y="454352"/>
                    </a:lnTo>
                    <a:lnTo>
                      <a:pt x="213321" y="471802"/>
                    </a:lnTo>
                    <a:close/>
                    <a:moveTo>
                      <a:pt x="228395" y="270439"/>
                    </a:moveTo>
                    <a:cubicBezTo>
                      <a:pt x="233077" y="269983"/>
                      <a:pt x="237760" y="271466"/>
                      <a:pt x="241243" y="274602"/>
                    </a:cubicBezTo>
                    <a:cubicBezTo>
                      <a:pt x="244783" y="277739"/>
                      <a:pt x="246781" y="282130"/>
                      <a:pt x="246781" y="286749"/>
                    </a:cubicBezTo>
                    <a:lnTo>
                      <a:pt x="246781" y="405252"/>
                    </a:lnTo>
                    <a:lnTo>
                      <a:pt x="366689" y="423957"/>
                    </a:lnTo>
                    <a:cubicBezTo>
                      <a:pt x="374111" y="425154"/>
                      <a:pt x="379878" y="431085"/>
                      <a:pt x="380678" y="438441"/>
                    </a:cubicBezTo>
                    <a:cubicBezTo>
                      <a:pt x="381477" y="445798"/>
                      <a:pt x="377138" y="452812"/>
                      <a:pt x="370115" y="455493"/>
                    </a:cubicBezTo>
                    <a:lnTo>
                      <a:pt x="236104" y="506589"/>
                    </a:lnTo>
                    <a:lnTo>
                      <a:pt x="235590" y="505334"/>
                    </a:lnTo>
                    <a:cubicBezTo>
                      <a:pt x="233820" y="505962"/>
                      <a:pt x="231936" y="506304"/>
                      <a:pt x="230051" y="506304"/>
                    </a:cubicBezTo>
                    <a:cubicBezTo>
                      <a:pt x="229480" y="506304"/>
                      <a:pt x="228966" y="506304"/>
                      <a:pt x="228395" y="506247"/>
                    </a:cubicBezTo>
                    <a:lnTo>
                      <a:pt x="15074" y="485546"/>
                    </a:lnTo>
                    <a:cubicBezTo>
                      <a:pt x="6509" y="484748"/>
                      <a:pt x="0" y="477676"/>
                      <a:pt x="0" y="469236"/>
                    </a:cubicBezTo>
                    <a:lnTo>
                      <a:pt x="0" y="307450"/>
                    </a:lnTo>
                    <a:cubicBezTo>
                      <a:pt x="0" y="299010"/>
                      <a:pt x="6509" y="291938"/>
                      <a:pt x="15074" y="291083"/>
                    </a:cubicBezTo>
                    <a:close/>
                    <a:moveTo>
                      <a:pt x="362895" y="0"/>
                    </a:moveTo>
                    <a:cubicBezTo>
                      <a:pt x="454777" y="0"/>
                      <a:pt x="466369" y="64320"/>
                      <a:pt x="468824" y="90151"/>
                    </a:cubicBezTo>
                    <a:cubicBezTo>
                      <a:pt x="468824" y="90151"/>
                      <a:pt x="507884" y="131206"/>
                      <a:pt x="463285" y="153046"/>
                    </a:cubicBezTo>
                    <a:cubicBezTo>
                      <a:pt x="463285" y="153046"/>
                      <a:pt x="463285" y="205049"/>
                      <a:pt x="429822" y="235157"/>
                    </a:cubicBezTo>
                    <a:cubicBezTo>
                      <a:pt x="429822" y="235157"/>
                      <a:pt x="401898" y="257053"/>
                      <a:pt x="485556" y="284366"/>
                    </a:cubicBezTo>
                    <a:lnTo>
                      <a:pt x="580407" y="317210"/>
                    </a:lnTo>
                    <a:cubicBezTo>
                      <a:pt x="580407" y="317210"/>
                      <a:pt x="608274" y="317210"/>
                      <a:pt x="608274" y="388316"/>
                    </a:cubicBezTo>
                    <a:lnTo>
                      <a:pt x="608274" y="480691"/>
                    </a:lnTo>
                    <a:lnTo>
                      <a:pt x="391162" y="480691"/>
                    </a:lnTo>
                    <a:cubicBezTo>
                      <a:pt x="406123" y="470598"/>
                      <a:pt x="414803" y="453207"/>
                      <a:pt x="412805" y="434960"/>
                    </a:cubicBezTo>
                    <a:cubicBezTo>
                      <a:pt x="410406" y="412892"/>
                      <a:pt x="393161" y="395045"/>
                      <a:pt x="370776" y="391566"/>
                    </a:cubicBezTo>
                    <a:lnTo>
                      <a:pt x="279065" y="377254"/>
                    </a:lnTo>
                    <a:lnTo>
                      <a:pt x="279065" y="286761"/>
                    </a:lnTo>
                    <a:cubicBezTo>
                      <a:pt x="279065" y="280945"/>
                      <a:pt x="277809" y="275357"/>
                      <a:pt x="275810" y="269997"/>
                    </a:cubicBezTo>
                    <a:cubicBezTo>
                      <a:pt x="314470" y="249754"/>
                      <a:pt x="295968" y="235157"/>
                      <a:pt x="295968" y="235157"/>
                    </a:cubicBezTo>
                    <a:cubicBezTo>
                      <a:pt x="262505" y="205049"/>
                      <a:pt x="262505" y="153046"/>
                      <a:pt x="262505" y="153046"/>
                    </a:cubicBezTo>
                    <a:cubicBezTo>
                      <a:pt x="217906" y="131206"/>
                      <a:pt x="256909" y="90151"/>
                      <a:pt x="256909" y="90151"/>
                    </a:cubicBezTo>
                    <a:cubicBezTo>
                      <a:pt x="259421" y="64320"/>
                      <a:pt x="277010" y="0"/>
                      <a:pt x="362895" y="0"/>
                    </a:cubicBezTo>
                    <a:close/>
                  </a:path>
                </a:pathLst>
              </a:custGeom>
              <a:solidFill>
                <a:schemeClr val="bg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grpSp>
          <p:nvGrpSpPr>
            <p:cNvPr id="17" name="îṥ1íďe"/>
            <p:cNvGrpSpPr/>
            <p:nvPr/>
          </p:nvGrpSpPr>
          <p:grpSpPr>
            <a:xfrm>
              <a:off x="6712822" y="4000605"/>
              <a:ext cx="685796" cy="685798"/>
              <a:chOff x="7017623" y="4048204"/>
              <a:chExt cx="685796" cy="685798"/>
            </a:xfrm>
          </p:grpSpPr>
          <p:sp>
            <p:nvSpPr>
              <p:cNvPr id="22" name="îšḷïḓê"/>
              <p:cNvSpPr/>
              <p:nvPr/>
            </p:nvSpPr>
            <p:spPr>
              <a:xfrm>
                <a:off x="7017623" y="4048204"/>
                <a:ext cx="685796" cy="685798"/>
              </a:xfrm>
              <a:prstGeom prst="ellipse">
                <a:avLst/>
              </a:prstGeom>
              <a:solidFill>
                <a:schemeClr val="accent3"/>
              </a:solidFill>
              <a:ln w="5715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3" name="íṣḻîḑé"/>
              <p:cNvSpPr/>
              <p:nvPr/>
            </p:nvSpPr>
            <p:spPr>
              <a:xfrm>
                <a:off x="7185890" y="4245665"/>
                <a:ext cx="349262" cy="290875"/>
              </a:xfrm>
              <a:custGeom>
                <a:avLst/>
                <a:gdLst>
                  <a:gd name="connsiteX0" fmla="*/ 246781 w 608274"/>
                  <a:gd name="connsiteY0" fmla="*/ 438498 h 506589"/>
                  <a:gd name="connsiteX1" fmla="*/ 246781 w 608274"/>
                  <a:gd name="connsiteY1" fmla="*/ 467297 h 506589"/>
                  <a:gd name="connsiteX2" fmla="*/ 300340 w 608274"/>
                  <a:gd name="connsiteY2" fmla="*/ 446881 h 506589"/>
                  <a:gd name="connsiteX3" fmla="*/ 213321 w 608274"/>
                  <a:gd name="connsiteY3" fmla="*/ 304884 h 506589"/>
                  <a:gd name="connsiteX4" fmla="*/ 33460 w 608274"/>
                  <a:gd name="connsiteY4" fmla="*/ 322334 h 506589"/>
                  <a:gd name="connsiteX5" fmla="*/ 33460 w 608274"/>
                  <a:gd name="connsiteY5" fmla="*/ 454352 h 506589"/>
                  <a:gd name="connsiteX6" fmla="*/ 213321 w 608274"/>
                  <a:gd name="connsiteY6" fmla="*/ 471802 h 506589"/>
                  <a:gd name="connsiteX7" fmla="*/ 228395 w 608274"/>
                  <a:gd name="connsiteY7" fmla="*/ 270439 h 506589"/>
                  <a:gd name="connsiteX8" fmla="*/ 241243 w 608274"/>
                  <a:gd name="connsiteY8" fmla="*/ 274602 h 506589"/>
                  <a:gd name="connsiteX9" fmla="*/ 246781 w 608274"/>
                  <a:gd name="connsiteY9" fmla="*/ 286749 h 506589"/>
                  <a:gd name="connsiteX10" fmla="*/ 246781 w 608274"/>
                  <a:gd name="connsiteY10" fmla="*/ 405252 h 506589"/>
                  <a:gd name="connsiteX11" fmla="*/ 366689 w 608274"/>
                  <a:gd name="connsiteY11" fmla="*/ 423957 h 506589"/>
                  <a:gd name="connsiteX12" fmla="*/ 380678 w 608274"/>
                  <a:gd name="connsiteY12" fmla="*/ 438441 h 506589"/>
                  <a:gd name="connsiteX13" fmla="*/ 370115 w 608274"/>
                  <a:gd name="connsiteY13" fmla="*/ 455493 h 506589"/>
                  <a:gd name="connsiteX14" fmla="*/ 236104 w 608274"/>
                  <a:gd name="connsiteY14" fmla="*/ 506589 h 506589"/>
                  <a:gd name="connsiteX15" fmla="*/ 235590 w 608274"/>
                  <a:gd name="connsiteY15" fmla="*/ 505334 h 506589"/>
                  <a:gd name="connsiteX16" fmla="*/ 230051 w 608274"/>
                  <a:gd name="connsiteY16" fmla="*/ 506304 h 506589"/>
                  <a:gd name="connsiteX17" fmla="*/ 228395 w 608274"/>
                  <a:gd name="connsiteY17" fmla="*/ 506247 h 506589"/>
                  <a:gd name="connsiteX18" fmla="*/ 15074 w 608274"/>
                  <a:gd name="connsiteY18" fmla="*/ 485546 h 506589"/>
                  <a:gd name="connsiteX19" fmla="*/ 0 w 608274"/>
                  <a:gd name="connsiteY19" fmla="*/ 469236 h 506589"/>
                  <a:gd name="connsiteX20" fmla="*/ 0 w 608274"/>
                  <a:gd name="connsiteY20" fmla="*/ 307450 h 506589"/>
                  <a:gd name="connsiteX21" fmla="*/ 15074 w 608274"/>
                  <a:gd name="connsiteY21" fmla="*/ 291083 h 506589"/>
                  <a:gd name="connsiteX22" fmla="*/ 362895 w 608274"/>
                  <a:gd name="connsiteY22" fmla="*/ 0 h 506589"/>
                  <a:gd name="connsiteX23" fmla="*/ 468824 w 608274"/>
                  <a:gd name="connsiteY23" fmla="*/ 90151 h 506589"/>
                  <a:gd name="connsiteX24" fmla="*/ 463285 w 608274"/>
                  <a:gd name="connsiteY24" fmla="*/ 153046 h 506589"/>
                  <a:gd name="connsiteX25" fmla="*/ 429822 w 608274"/>
                  <a:gd name="connsiteY25" fmla="*/ 235157 h 506589"/>
                  <a:gd name="connsiteX26" fmla="*/ 485556 w 608274"/>
                  <a:gd name="connsiteY26" fmla="*/ 284366 h 506589"/>
                  <a:gd name="connsiteX27" fmla="*/ 580407 w 608274"/>
                  <a:gd name="connsiteY27" fmla="*/ 317210 h 506589"/>
                  <a:gd name="connsiteX28" fmla="*/ 608274 w 608274"/>
                  <a:gd name="connsiteY28" fmla="*/ 388316 h 506589"/>
                  <a:gd name="connsiteX29" fmla="*/ 608274 w 608274"/>
                  <a:gd name="connsiteY29" fmla="*/ 480691 h 506589"/>
                  <a:gd name="connsiteX30" fmla="*/ 391162 w 608274"/>
                  <a:gd name="connsiteY30" fmla="*/ 480691 h 506589"/>
                  <a:gd name="connsiteX31" fmla="*/ 412805 w 608274"/>
                  <a:gd name="connsiteY31" fmla="*/ 434960 h 506589"/>
                  <a:gd name="connsiteX32" fmla="*/ 370776 w 608274"/>
                  <a:gd name="connsiteY32" fmla="*/ 391566 h 506589"/>
                  <a:gd name="connsiteX33" fmla="*/ 279065 w 608274"/>
                  <a:gd name="connsiteY33" fmla="*/ 377254 h 506589"/>
                  <a:gd name="connsiteX34" fmla="*/ 279065 w 608274"/>
                  <a:gd name="connsiteY34" fmla="*/ 286761 h 506589"/>
                  <a:gd name="connsiteX35" fmla="*/ 275810 w 608274"/>
                  <a:gd name="connsiteY35" fmla="*/ 269997 h 506589"/>
                  <a:gd name="connsiteX36" fmla="*/ 295968 w 608274"/>
                  <a:gd name="connsiteY36" fmla="*/ 235157 h 506589"/>
                  <a:gd name="connsiteX37" fmla="*/ 262505 w 608274"/>
                  <a:gd name="connsiteY37" fmla="*/ 153046 h 506589"/>
                  <a:gd name="connsiteX38" fmla="*/ 256909 w 608274"/>
                  <a:gd name="connsiteY38" fmla="*/ 90151 h 506589"/>
                  <a:gd name="connsiteX39" fmla="*/ 362895 w 608274"/>
                  <a:gd name="connsiteY39" fmla="*/ 0 h 50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274" h="506589">
                    <a:moveTo>
                      <a:pt x="246781" y="438498"/>
                    </a:moveTo>
                    <a:lnTo>
                      <a:pt x="246781" y="467297"/>
                    </a:lnTo>
                    <a:lnTo>
                      <a:pt x="300340" y="446881"/>
                    </a:lnTo>
                    <a:close/>
                    <a:moveTo>
                      <a:pt x="213321" y="304884"/>
                    </a:moveTo>
                    <a:lnTo>
                      <a:pt x="33460" y="322334"/>
                    </a:lnTo>
                    <a:lnTo>
                      <a:pt x="33460" y="454352"/>
                    </a:lnTo>
                    <a:lnTo>
                      <a:pt x="213321" y="471802"/>
                    </a:lnTo>
                    <a:close/>
                    <a:moveTo>
                      <a:pt x="228395" y="270439"/>
                    </a:moveTo>
                    <a:cubicBezTo>
                      <a:pt x="233077" y="269983"/>
                      <a:pt x="237760" y="271466"/>
                      <a:pt x="241243" y="274602"/>
                    </a:cubicBezTo>
                    <a:cubicBezTo>
                      <a:pt x="244783" y="277739"/>
                      <a:pt x="246781" y="282130"/>
                      <a:pt x="246781" y="286749"/>
                    </a:cubicBezTo>
                    <a:lnTo>
                      <a:pt x="246781" y="405252"/>
                    </a:lnTo>
                    <a:lnTo>
                      <a:pt x="366689" y="423957"/>
                    </a:lnTo>
                    <a:cubicBezTo>
                      <a:pt x="374111" y="425154"/>
                      <a:pt x="379878" y="431085"/>
                      <a:pt x="380678" y="438441"/>
                    </a:cubicBezTo>
                    <a:cubicBezTo>
                      <a:pt x="381477" y="445798"/>
                      <a:pt x="377138" y="452812"/>
                      <a:pt x="370115" y="455493"/>
                    </a:cubicBezTo>
                    <a:lnTo>
                      <a:pt x="236104" y="506589"/>
                    </a:lnTo>
                    <a:lnTo>
                      <a:pt x="235590" y="505334"/>
                    </a:lnTo>
                    <a:cubicBezTo>
                      <a:pt x="233820" y="505962"/>
                      <a:pt x="231936" y="506304"/>
                      <a:pt x="230051" y="506304"/>
                    </a:cubicBezTo>
                    <a:cubicBezTo>
                      <a:pt x="229480" y="506304"/>
                      <a:pt x="228966" y="506304"/>
                      <a:pt x="228395" y="506247"/>
                    </a:cubicBezTo>
                    <a:lnTo>
                      <a:pt x="15074" y="485546"/>
                    </a:lnTo>
                    <a:cubicBezTo>
                      <a:pt x="6509" y="484748"/>
                      <a:pt x="0" y="477676"/>
                      <a:pt x="0" y="469236"/>
                    </a:cubicBezTo>
                    <a:lnTo>
                      <a:pt x="0" y="307450"/>
                    </a:lnTo>
                    <a:cubicBezTo>
                      <a:pt x="0" y="299010"/>
                      <a:pt x="6509" y="291938"/>
                      <a:pt x="15074" y="291083"/>
                    </a:cubicBezTo>
                    <a:close/>
                    <a:moveTo>
                      <a:pt x="362895" y="0"/>
                    </a:moveTo>
                    <a:cubicBezTo>
                      <a:pt x="454777" y="0"/>
                      <a:pt x="466369" y="64320"/>
                      <a:pt x="468824" y="90151"/>
                    </a:cubicBezTo>
                    <a:cubicBezTo>
                      <a:pt x="468824" y="90151"/>
                      <a:pt x="507884" y="131206"/>
                      <a:pt x="463285" y="153046"/>
                    </a:cubicBezTo>
                    <a:cubicBezTo>
                      <a:pt x="463285" y="153046"/>
                      <a:pt x="463285" y="205049"/>
                      <a:pt x="429822" y="235157"/>
                    </a:cubicBezTo>
                    <a:cubicBezTo>
                      <a:pt x="429822" y="235157"/>
                      <a:pt x="401898" y="257053"/>
                      <a:pt x="485556" y="284366"/>
                    </a:cubicBezTo>
                    <a:lnTo>
                      <a:pt x="580407" y="317210"/>
                    </a:lnTo>
                    <a:cubicBezTo>
                      <a:pt x="580407" y="317210"/>
                      <a:pt x="608274" y="317210"/>
                      <a:pt x="608274" y="388316"/>
                    </a:cubicBezTo>
                    <a:lnTo>
                      <a:pt x="608274" y="480691"/>
                    </a:lnTo>
                    <a:lnTo>
                      <a:pt x="391162" y="480691"/>
                    </a:lnTo>
                    <a:cubicBezTo>
                      <a:pt x="406123" y="470598"/>
                      <a:pt x="414803" y="453207"/>
                      <a:pt x="412805" y="434960"/>
                    </a:cubicBezTo>
                    <a:cubicBezTo>
                      <a:pt x="410406" y="412892"/>
                      <a:pt x="393161" y="395045"/>
                      <a:pt x="370776" y="391566"/>
                    </a:cubicBezTo>
                    <a:lnTo>
                      <a:pt x="279065" y="377254"/>
                    </a:lnTo>
                    <a:lnTo>
                      <a:pt x="279065" y="286761"/>
                    </a:lnTo>
                    <a:cubicBezTo>
                      <a:pt x="279065" y="280945"/>
                      <a:pt x="277809" y="275357"/>
                      <a:pt x="275810" y="269997"/>
                    </a:cubicBezTo>
                    <a:cubicBezTo>
                      <a:pt x="314470" y="249754"/>
                      <a:pt x="295968" y="235157"/>
                      <a:pt x="295968" y="235157"/>
                    </a:cubicBezTo>
                    <a:cubicBezTo>
                      <a:pt x="262505" y="205049"/>
                      <a:pt x="262505" y="153046"/>
                      <a:pt x="262505" y="153046"/>
                    </a:cubicBezTo>
                    <a:cubicBezTo>
                      <a:pt x="217906" y="131206"/>
                      <a:pt x="256909" y="90151"/>
                      <a:pt x="256909" y="90151"/>
                    </a:cubicBezTo>
                    <a:cubicBezTo>
                      <a:pt x="259421" y="64320"/>
                      <a:pt x="277010" y="0"/>
                      <a:pt x="362895" y="0"/>
                    </a:cubicBezTo>
                    <a:close/>
                  </a:path>
                </a:pathLst>
              </a:custGeom>
              <a:solidFill>
                <a:schemeClr val="bg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grpSp>
          <p:nvGrpSpPr>
            <p:cNvPr id="18" name="îs1ïḓê"/>
            <p:cNvGrpSpPr/>
            <p:nvPr/>
          </p:nvGrpSpPr>
          <p:grpSpPr>
            <a:xfrm>
              <a:off x="6712822" y="2145866"/>
              <a:ext cx="685796" cy="685798"/>
              <a:chOff x="6974079" y="2140423"/>
              <a:chExt cx="685796" cy="685798"/>
            </a:xfrm>
          </p:grpSpPr>
          <p:sp>
            <p:nvSpPr>
              <p:cNvPr id="20" name="íSļíḑè"/>
              <p:cNvSpPr/>
              <p:nvPr/>
            </p:nvSpPr>
            <p:spPr>
              <a:xfrm>
                <a:off x="6974079" y="2140423"/>
                <a:ext cx="685796" cy="685798"/>
              </a:xfrm>
              <a:prstGeom prst="ellipse">
                <a:avLst/>
              </a:prstGeom>
              <a:solidFill>
                <a:schemeClr val="accent2"/>
              </a:solidFill>
              <a:ln w="5715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1" name="íSḷíďê"/>
              <p:cNvSpPr/>
              <p:nvPr/>
            </p:nvSpPr>
            <p:spPr>
              <a:xfrm>
                <a:off x="7142346" y="2337884"/>
                <a:ext cx="349262" cy="290875"/>
              </a:xfrm>
              <a:custGeom>
                <a:avLst/>
                <a:gdLst>
                  <a:gd name="connsiteX0" fmla="*/ 246781 w 608274"/>
                  <a:gd name="connsiteY0" fmla="*/ 438498 h 506589"/>
                  <a:gd name="connsiteX1" fmla="*/ 246781 w 608274"/>
                  <a:gd name="connsiteY1" fmla="*/ 467297 h 506589"/>
                  <a:gd name="connsiteX2" fmla="*/ 300340 w 608274"/>
                  <a:gd name="connsiteY2" fmla="*/ 446881 h 506589"/>
                  <a:gd name="connsiteX3" fmla="*/ 213321 w 608274"/>
                  <a:gd name="connsiteY3" fmla="*/ 304884 h 506589"/>
                  <a:gd name="connsiteX4" fmla="*/ 33460 w 608274"/>
                  <a:gd name="connsiteY4" fmla="*/ 322334 h 506589"/>
                  <a:gd name="connsiteX5" fmla="*/ 33460 w 608274"/>
                  <a:gd name="connsiteY5" fmla="*/ 454352 h 506589"/>
                  <a:gd name="connsiteX6" fmla="*/ 213321 w 608274"/>
                  <a:gd name="connsiteY6" fmla="*/ 471802 h 506589"/>
                  <a:gd name="connsiteX7" fmla="*/ 228395 w 608274"/>
                  <a:gd name="connsiteY7" fmla="*/ 270439 h 506589"/>
                  <a:gd name="connsiteX8" fmla="*/ 241243 w 608274"/>
                  <a:gd name="connsiteY8" fmla="*/ 274602 h 506589"/>
                  <a:gd name="connsiteX9" fmla="*/ 246781 w 608274"/>
                  <a:gd name="connsiteY9" fmla="*/ 286749 h 506589"/>
                  <a:gd name="connsiteX10" fmla="*/ 246781 w 608274"/>
                  <a:gd name="connsiteY10" fmla="*/ 405252 h 506589"/>
                  <a:gd name="connsiteX11" fmla="*/ 366689 w 608274"/>
                  <a:gd name="connsiteY11" fmla="*/ 423957 h 506589"/>
                  <a:gd name="connsiteX12" fmla="*/ 380678 w 608274"/>
                  <a:gd name="connsiteY12" fmla="*/ 438441 h 506589"/>
                  <a:gd name="connsiteX13" fmla="*/ 370115 w 608274"/>
                  <a:gd name="connsiteY13" fmla="*/ 455493 h 506589"/>
                  <a:gd name="connsiteX14" fmla="*/ 236104 w 608274"/>
                  <a:gd name="connsiteY14" fmla="*/ 506589 h 506589"/>
                  <a:gd name="connsiteX15" fmla="*/ 235590 w 608274"/>
                  <a:gd name="connsiteY15" fmla="*/ 505334 h 506589"/>
                  <a:gd name="connsiteX16" fmla="*/ 230051 w 608274"/>
                  <a:gd name="connsiteY16" fmla="*/ 506304 h 506589"/>
                  <a:gd name="connsiteX17" fmla="*/ 228395 w 608274"/>
                  <a:gd name="connsiteY17" fmla="*/ 506247 h 506589"/>
                  <a:gd name="connsiteX18" fmla="*/ 15074 w 608274"/>
                  <a:gd name="connsiteY18" fmla="*/ 485546 h 506589"/>
                  <a:gd name="connsiteX19" fmla="*/ 0 w 608274"/>
                  <a:gd name="connsiteY19" fmla="*/ 469236 h 506589"/>
                  <a:gd name="connsiteX20" fmla="*/ 0 w 608274"/>
                  <a:gd name="connsiteY20" fmla="*/ 307450 h 506589"/>
                  <a:gd name="connsiteX21" fmla="*/ 15074 w 608274"/>
                  <a:gd name="connsiteY21" fmla="*/ 291083 h 506589"/>
                  <a:gd name="connsiteX22" fmla="*/ 362895 w 608274"/>
                  <a:gd name="connsiteY22" fmla="*/ 0 h 506589"/>
                  <a:gd name="connsiteX23" fmla="*/ 468824 w 608274"/>
                  <a:gd name="connsiteY23" fmla="*/ 90151 h 506589"/>
                  <a:gd name="connsiteX24" fmla="*/ 463285 w 608274"/>
                  <a:gd name="connsiteY24" fmla="*/ 153046 h 506589"/>
                  <a:gd name="connsiteX25" fmla="*/ 429822 w 608274"/>
                  <a:gd name="connsiteY25" fmla="*/ 235157 h 506589"/>
                  <a:gd name="connsiteX26" fmla="*/ 485556 w 608274"/>
                  <a:gd name="connsiteY26" fmla="*/ 284366 h 506589"/>
                  <a:gd name="connsiteX27" fmla="*/ 580407 w 608274"/>
                  <a:gd name="connsiteY27" fmla="*/ 317210 h 506589"/>
                  <a:gd name="connsiteX28" fmla="*/ 608274 w 608274"/>
                  <a:gd name="connsiteY28" fmla="*/ 388316 h 506589"/>
                  <a:gd name="connsiteX29" fmla="*/ 608274 w 608274"/>
                  <a:gd name="connsiteY29" fmla="*/ 480691 h 506589"/>
                  <a:gd name="connsiteX30" fmla="*/ 391162 w 608274"/>
                  <a:gd name="connsiteY30" fmla="*/ 480691 h 506589"/>
                  <a:gd name="connsiteX31" fmla="*/ 412805 w 608274"/>
                  <a:gd name="connsiteY31" fmla="*/ 434960 h 506589"/>
                  <a:gd name="connsiteX32" fmla="*/ 370776 w 608274"/>
                  <a:gd name="connsiteY32" fmla="*/ 391566 h 506589"/>
                  <a:gd name="connsiteX33" fmla="*/ 279065 w 608274"/>
                  <a:gd name="connsiteY33" fmla="*/ 377254 h 506589"/>
                  <a:gd name="connsiteX34" fmla="*/ 279065 w 608274"/>
                  <a:gd name="connsiteY34" fmla="*/ 286761 h 506589"/>
                  <a:gd name="connsiteX35" fmla="*/ 275810 w 608274"/>
                  <a:gd name="connsiteY35" fmla="*/ 269997 h 506589"/>
                  <a:gd name="connsiteX36" fmla="*/ 295968 w 608274"/>
                  <a:gd name="connsiteY36" fmla="*/ 235157 h 506589"/>
                  <a:gd name="connsiteX37" fmla="*/ 262505 w 608274"/>
                  <a:gd name="connsiteY37" fmla="*/ 153046 h 506589"/>
                  <a:gd name="connsiteX38" fmla="*/ 256909 w 608274"/>
                  <a:gd name="connsiteY38" fmla="*/ 90151 h 506589"/>
                  <a:gd name="connsiteX39" fmla="*/ 362895 w 608274"/>
                  <a:gd name="connsiteY39" fmla="*/ 0 h 50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274" h="506589">
                    <a:moveTo>
                      <a:pt x="246781" y="438498"/>
                    </a:moveTo>
                    <a:lnTo>
                      <a:pt x="246781" y="467297"/>
                    </a:lnTo>
                    <a:lnTo>
                      <a:pt x="300340" y="446881"/>
                    </a:lnTo>
                    <a:close/>
                    <a:moveTo>
                      <a:pt x="213321" y="304884"/>
                    </a:moveTo>
                    <a:lnTo>
                      <a:pt x="33460" y="322334"/>
                    </a:lnTo>
                    <a:lnTo>
                      <a:pt x="33460" y="454352"/>
                    </a:lnTo>
                    <a:lnTo>
                      <a:pt x="213321" y="471802"/>
                    </a:lnTo>
                    <a:close/>
                    <a:moveTo>
                      <a:pt x="228395" y="270439"/>
                    </a:moveTo>
                    <a:cubicBezTo>
                      <a:pt x="233077" y="269983"/>
                      <a:pt x="237760" y="271466"/>
                      <a:pt x="241243" y="274602"/>
                    </a:cubicBezTo>
                    <a:cubicBezTo>
                      <a:pt x="244783" y="277739"/>
                      <a:pt x="246781" y="282130"/>
                      <a:pt x="246781" y="286749"/>
                    </a:cubicBezTo>
                    <a:lnTo>
                      <a:pt x="246781" y="405252"/>
                    </a:lnTo>
                    <a:lnTo>
                      <a:pt x="366689" y="423957"/>
                    </a:lnTo>
                    <a:cubicBezTo>
                      <a:pt x="374111" y="425154"/>
                      <a:pt x="379878" y="431085"/>
                      <a:pt x="380678" y="438441"/>
                    </a:cubicBezTo>
                    <a:cubicBezTo>
                      <a:pt x="381477" y="445798"/>
                      <a:pt x="377138" y="452812"/>
                      <a:pt x="370115" y="455493"/>
                    </a:cubicBezTo>
                    <a:lnTo>
                      <a:pt x="236104" y="506589"/>
                    </a:lnTo>
                    <a:lnTo>
                      <a:pt x="235590" y="505334"/>
                    </a:lnTo>
                    <a:cubicBezTo>
                      <a:pt x="233820" y="505962"/>
                      <a:pt x="231936" y="506304"/>
                      <a:pt x="230051" y="506304"/>
                    </a:cubicBezTo>
                    <a:cubicBezTo>
                      <a:pt x="229480" y="506304"/>
                      <a:pt x="228966" y="506304"/>
                      <a:pt x="228395" y="506247"/>
                    </a:cubicBezTo>
                    <a:lnTo>
                      <a:pt x="15074" y="485546"/>
                    </a:lnTo>
                    <a:cubicBezTo>
                      <a:pt x="6509" y="484748"/>
                      <a:pt x="0" y="477676"/>
                      <a:pt x="0" y="469236"/>
                    </a:cubicBezTo>
                    <a:lnTo>
                      <a:pt x="0" y="307450"/>
                    </a:lnTo>
                    <a:cubicBezTo>
                      <a:pt x="0" y="299010"/>
                      <a:pt x="6509" y="291938"/>
                      <a:pt x="15074" y="291083"/>
                    </a:cubicBezTo>
                    <a:close/>
                    <a:moveTo>
                      <a:pt x="362895" y="0"/>
                    </a:moveTo>
                    <a:cubicBezTo>
                      <a:pt x="454777" y="0"/>
                      <a:pt x="466369" y="64320"/>
                      <a:pt x="468824" y="90151"/>
                    </a:cubicBezTo>
                    <a:cubicBezTo>
                      <a:pt x="468824" y="90151"/>
                      <a:pt x="507884" y="131206"/>
                      <a:pt x="463285" y="153046"/>
                    </a:cubicBezTo>
                    <a:cubicBezTo>
                      <a:pt x="463285" y="153046"/>
                      <a:pt x="463285" y="205049"/>
                      <a:pt x="429822" y="235157"/>
                    </a:cubicBezTo>
                    <a:cubicBezTo>
                      <a:pt x="429822" y="235157"/>
                      <a:pt x="401898" y="257053"/>
                      <a:pt x="485556" y="284366"/>
                    </a:cubicBezTo>
                    <a:lnTo>
                      <a:pt x="580407" y="317210"/>
                    </a:lnTo>
                    <a:cubicBezTo>
                      <a:pt x="580407" y="317210"/>
                      <a:pt x="608274" y="317210"/>
                      <a:pt x="608274" y="388316"/>
                    </a:cubicBezTo>
                    <a:lnTo>
                      <a:pt x="608274" y="480691"/>
                    </a:lnTo>
                    <a:lnTo>
                      <a:pt x="391162" y="480691"/>
                    </a:lnTo>
                    <a:cubicBezTo>
                      <a:pt x="406123" y="470598"/>
                      <a:pt x="414803" y="453207"/>
                      <a:pt x="412805" y="434960"/>
                    </a:cubicBezTo>
                    <a:cubicBezTo>
                      <a:pt x="410406" y="412892"/>
                      <a:pt x="393161" y="395045"/>
                      <a:pt x="370776" y="391566"/>
                    </a:cubicBezTo>
                    <a:lnTo>
                      <a:pt x="279065" y="377254"/>
                    </a:lnTo>
                    <a:lnTo>
                      <a:pt x="279065" y="286761"/>
                    </a:lnTo>
                    <a:cubicBezTo>
                      <a:pt x="279065" y="280945"/>
                      <a:pt x="277809" y="275357"/>
                      <a:pt x="275810" y="269997"/>
                    </a:cubicBezTo>
                    <a:cubicBezTo>
                      <a:pt x="314470" y="249754"/>
                      <a:pt x="295968" y="235157"/>
                      <a:pt x="295968" y="235157"/>
                    </a:cubicBezTo>
                    <a:cubicBezTo>
                      <a:pt x="262505" y="205049"/>
                      <a:pt x="262505" y="153046"/>
                      <a:pt x="262505" y="153046"/>
                    </a:cubicBezTo>
                    <a:cubicBezTo>
                      <a:pt x="217906" y="131206"/>
                      <a:pt x="256909" y="90151"/>
                      <a:pt x="256909" y="90151"/>
                    </a:cubicBezTo>
                    <a:cubicBezTo>
                      <a:pt x="259421" y="64320"/>
                      <a:pt x="277010" y="0"/>
                      <a:pt x="362895" y="0"/>
                    </a:cubicBezTo>
                    <a:close/>
                  </a:path>
                </a:pathLst>
              </a:custGeom>
              <a:solidFill>
                <a:schemeClr val="bg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
          <p:nvSpPr>
            <p:cNvPr id="19" name="îṥ1ïdé"/>
            <p:cNvSpPr txBox="1"/>
            <p:nvPr/>
          </p:nvSpPr>
          <p:spPr bwMode="auto">
            <a:xfrm>
              <a:off x="5452120" y="3179653"/>
              <a:ext cx="1428968"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zh-CN" altLang="en-US" b="1" dirty="0"/>
                <a:t>支小贷</a:t>
              </a:r>
              <a:endParaRPr lang="en-US" altLang="zh-CN" b="1" dirty="0"/>
            </a:p>
          </p:txBody>
        </p:sp>
      </p:grpSp>
    </p:spTree>
    <p:custDataLst>
      <p:tags r:id="rId2"/>
    </p:custData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三、（</a:t>
            </a:r>
            <a:r>
              <a:rPr lang="en-US" altLang="zh-CN" dirty="0"/>
              <a:t>2</a:t>
            </a:r>
            <a:r>
              <a:rPr lang="zh-CN" altLang="en-US" dirty="0"/>
              <a:t>）</a:t>
            </a:r>
            <a:r>
              <a:rPr lang="zh-CN" altLang="en-US" dirty="0"/>
              <a:t>技改贷业务</a:t>
            </a:r>
            <a:endParaRPr lang="zh-CN" altLang="en-US" dirty="0"/>
          </a:p>
        </p:txBody>
      </p:sp>
      <p:grpSp>
        <p:nvGrpSpPr>
          <p:cNvPr id="70" name="20751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73100" y="0"/>
            <a:ext cx="11518900" cy="6279617"/>
            <a:chOff x="673100" y="-1"/>
            <a:chExt cx="11518900" cy="6279617"/>
          </a:xfrm>
        </p:grpSpPr>
        <p:grpSp>
          <p:nvGrpSpPr>
            <p:cNvPr id="71" name="íSlîḍé"/>
            <p:cNvGrpSpPr/>
            <p:nvPr/>
          </p:nvGrpSpPr>
          <p:grpSpPr>
            <a:xfrm>
              <a:off x="8840680" y="-1"/>
              <a:ext cx="3351320" cy="2847730"/>
              <a:chOff x="8403493" y="-272731"/>
              <a:chExt cx="3940600" cy="3348462"/>
            </a:xfrm>
          </p:grpSpPr>
          <p:sp>
            <p:nvSpPr>
              <p:cNvPr id="120" name="iSḻîḋe"/>
              <p:cNvSpPr/>
              <p:nvPr/>
            </p:nvSpPr>
            <p:spPr bwMode="auto">
              <a:xfrm>
                <a:off x="8403493" y="339185"/>
                <a:ext cx="3571666" cy="2736546"/>
              </a:xfrm>
              <a:custGeom>
                <a:avLst/>
                <a:gdLst>
                  <a:gd name="connsiteX0" fmla="*/ 3261426 w 3571666"/>
                  <a:gd name="connsiteY0" fmla="*/ 0 h 2736546"/>
                  <a:gd name="connsiteX1" fmla="*/ 3571666 w 3571666"/>
                  <a:gd name="connsiteY1" fmla="*/ 287025 h 2736546"/>
                  <a:gd name="connsiteX2" fmla="*/ 2608736 w 3571666"/>
                  <a:gd name="connsiteY2" fmla="*/ 1329583 h 2736546"/>
                  <a:gd name="connsiteX3" fmla="*/ 2608551 w 3571666"/>
                  <a:gd name="connsiteY3" fmla="*/ 1330967 h 2736546"/>
                  <a:gd name="connsiteX4" fmla="*/ 2600110 w 3571666"/>
                  <a:gd name="connsiteY4" fmla="*/ 1364735 h 2736546"/>
                  <a:gd name="connsiteX5" fmla="*/ 2591668 w 3571666"/>
                  <a:gd name="connsiteY5" fmla="*/ 1400613 h 2736546"/>
                  <a:gd name="connsiteX6" fmla="*/ 2581115 w 3571666"/>
                  <a:gd name="connsiteY6" fmla="*/ 1438601 h 2736546"/>
                  <a:gd name="connsiteX7" fmla="*/ 2570563 w 3571666"/>
                  <a:gd name="connsiteY7" fmla="*/ 1478700 h 2736546"/>
                  <a:gd name="connsiteX8" fmla="*/ 2555789 w 3571666"/>
                  <a:gd name="connsiteY8" fmla="*/ 1518800 h 2736546"/>
                  <a:gd name="connsiteX9" fmla="*/ 2538906 w 3571666"/>
                  <a:gd name="connsiteY9" fmla="*/ 1558899 h 2736546"/>
                  <a:gd name="connsiteX10" fmla="*/ 2522022 w 3571666"/>
                  <a:gd name="connsiteY10" fmla="*/ 1601108 h 2736546"/>
                  <a:gd name="connsiteX11" fmla="*/ 2503028 w 3571666"/>
                  <a:gd name="connsiteY11" fmla="*/ 1641207 h 2736546"/>
                  <a:gd name="connsiteX12" fmla="*/ 2481923 w 3571666"/>
                  <a:gd name="connsiteY12" fmla="*/ 1681306 h 2736546"/>
                  <a:gd name="connsiteX13" fmla="*/ 2460818 w 3571666"/>
                  <a:gd name="connsiteY13" fmla="*/ 1721406 h 2736546"/>
                  <a:gd name="connsiteX14" fmla="*/ 2437603 w 3571666"/>
                  <a:gd name="connsiteY14" fmla="*/ 1759394 h 2736546"/>
                  <a:gd name="connsiteX15" fmla="*/ 2412277 w 3571666"/>
                  <a:gd name="connsiteY15" fmla="*/ 1795272 h 2736546"/>
                  <a:gd name="connsiteX16" fmla="*/ 2386951 w 3571666"/>
                  <a:gd name="connsiteY16" fmla="*/ 1829040 h 2736546"/>
                  <a:gd name="connsiteX17" fmla="*/ 2359515 w 3571666"/>
                  <a:gd name="connsiteY17" fmla="*/ 1860697 h 2736546"/>
                  <a:gd name="connsiteX18" fmla="*/ 1838227 w 3571666"/>
                  <a:gd name="connsiteY18" fmla="*/ 2430527 h 2736546"/>
                  <a:gd name="connsiteX19" fmla="*/ 1827675 w 3571666"/>
                  <a:gd name="connsiteY19" fmla="*/ 2443190 h 2736546"/>
                  <a:gd name="connsiteX20" fmla="*/ 1815012 w 3571666"/>
                  <a:gd name="connsiteY20" fmla="*/ 2451631 h 2736546"/>
                  <a:gd name="connsiteX21" fmla="*/ 1791796 w 3571666"/>
                  <a:gd name="connsiteY21" fmla="*/ 2468515 h 2736546"/>
                  <a:gd name="connsiteX22" fmla="*/ 1766471 w 3571666"/>
                  <a:gd name="connsiteY22" fmla="*/ 2481178 h 2736546"/>
                  <a:gd name="connsiteX23" fmla="*/ 1739034 w 3571666"/>
                  <a:gd name="connsiteY23" fmla="*/ 2487510 h 2736546"/>
                  <a:gd name="connsiteX24" fmla="*/ 1711598 w 3571666"/>
                  <a:gd name="connsiteY24" fmla="*/ 2491731 h 2736546"/>
                  <a:gd name="connsiteX25" fmla="*/ 1686272 w 3571666"/>
                  <a:gd name="connsiteY25" fmla="*/ 2489620 h 2736546"/>
                  <a:gd name="connsiteX26" fmla="*/ 1658836 w 3571666"/>
                  <a:gd name="connsiteY26" fmla="*/ 2485399 h 2736546"/>
                  <a:gd name="connsiteX27" fmla="*/ 1633511 w 3571666"/>
                  <a:gd name="connsiteY27" fmla="*/ 2479068 h 2736546"/>
                  <a:gd name="connsiteX28" fmla="*/ 1610295 w 3571666"/>
                  <a:gd name="connsiteY28" fmla="*/ 2468515 h 2736546"/>
                  <a:gd name="connsiteX29" fmla="*/ 1587080 w 3571666"/>
                  <a:gd name="connsiteY29" fmla="*/ 2453742 h 2736546"/>
                  <a:gd name="connsiteX30" fmla="*/ 1568086 w 3571666"/>
                  <a:gd name="connsiteY30" fmla="*/ 2436858 h 2736546"/>
                  <a:gd name="connsiteX31" fmla="*/ 1551202 w 3571666"/>
                  <a:gd name="connsiteY31" fmla="*/ 2417864 h 2736546"/>
                  <a:gd name="connsiteX32" fmla="*/ 1538539 w 3571666"/>
                  <a:gd name="connsiteY32" fmla="*/ 2396759 h 2736546"/>
                  <a:gd name="connsiteX33" fmla="*/ 1530097 w 3571666"/>
                  <a:gd name="connsiteY33" fmla="*/ 2373544 h 2736546"/>
                  <a:gd name="connsiteX34" fmla="*/ 1525876 w 3571666"/>
                  <a:gd name="connsiteY34" fmla="*/ 2348218 h 2736546"/>
                  <a:gd name="connsiteX35" fmla="*/ 1525876 w 3571666"/>
                  <a:gd name="connsiteY35" fmla="*/ 2335555 h 2736546"/>
                  <a:gd name="connsiteX36" fmla="*/ 1525876 w 3571666"/>
                  <a:gd name="connsiteY36" fmla="*/ 2320782 h 2736546"/>
                  <a:gd name="connsiteX37" fmla="*/ 1500550 w 3571666"/>
                  <a:gd name="connsiteY37" fmla="*/ 2333445 h 2736546"/>
                  <a:gd name="connsiteX38" fmla="*/ 1473114 w 3571666"/>
                  <a:gd name="connsiteY38" fmla="*/ 2341887 h 2736546"/>
                  <a:gd name="connsiteX39" fmla="*/ 1447788 w 3571666"/>
                  <a:gd name="connsiteY39" fmla="*/ 2346108 h 2736546"/>
                  <a:gd name="connsiteX40" fmla="*/ 1420352 w 3571666"/>
                  <a:gd name="connsiteY40" fmla="*/ 2346108 h 2736546"/>
                  <a:gd name="connsiteX41" fmla="*/ 1392916 w 3571666"/>
                  <a:gd name="connsiteY41" fmla="*/ 2343997 h 2736546"/>
                  <a:gd name="connsiteX42" fmla="*/ 1367590 w 3571666"/>
                  <a:gd name="connsiteY42" fmla="*/ 2337666 h 2736546"/>
                  <a:gd name="connsiteX43" fmla="*/ 1342264 w 3571666"/>
                  <a:gd name="connsiteY43" fmla="*/ 2329224 h 2736546"/>
                  <a:gd name="connsiteX44" fmla="*/ 1319049 w 3571666"/>
                  <a:gd name="connsiteY44" fmla="*/ 2316561 h 2736546"/>
                  <a:gd name="connsiteX45" fmla="*/ 1297944 w 3571666"/>
                  <a:gd name="connsiteY45" fmla="*/ 2301787 h 2736546"/>
                  <a:gd name="connsiteX46" fmla="*/ 1281061 w 3571666"/>
                  <a:gd name="connsiteY46" fmla="*/ 2284904 h 2736546"/>
                  <a:gd name="connsiteX47" fmla="*/ 1264177 w 3571666"/>
                  <a:gd name="connsiteY47" fmla="*/ 2263799 h 2736546"/>
                  <a:gd name="connsiteX48" fmla="*/ 1251514 w 3571666"/>
                  <a:gd name="connsiteY48" fmla="*/ 2242694 h 2736546"/>
                  <a:gd name="connsiteX49" fmla="*/ 1243072 w 3571666"/>
                  <a:gd name="connsiteY49" fmla="*/ 2219479 h 2736546"/>
                  <a:gd name="connsiteX50" fmla="*/ 1238851 w 3571666"/>
                  <a:gd name="connsiteY50" fmla="*/ 2194153 h 2736546"/>
                  <a:gd name="connsiteX51" fmla="*/ 1238851 w 3571666"/>
                  <a:gd name="connsiteY51" fmla="*/ 2166717 h 2736546"/>
                  <a:gd name="connsiteX52" fmla="*/ 1245182 w 3571666"/>
                  <a:gd name="connsiteY52" fmla="*/ 2139281 h 2736546"/>
                  <a:gd name="connsiteX53" fmla="*/ 1219857 w 3571666"/>
                  <a:gd name="connsiteY53" fmla="*/ 2156164 h 2736546"/>
                  <a:gd name="connsiteX54" fmla="*/ 1194531 w 3571666"/>
                  <a:gd name="connsiteY54" fmla="*/ 2170938 h 2736546"/>
                  <a:gd name="connsiteX55" fmla="*/ 1167095 w 3571666"/>
                  <a:gd name="connsiteY55" fmla="*/ 2179380 h 2736546"/>
                  <a:gd name="connsiteX56" fmla="*/ 1139659 w 3571666"/>
                  <a:gd name="connsiteY56" fmla="*/ 2183601 h 2736546"/>
                  <a:gd name="connsiteX57" fmla="*/ 1112222 w 3571666"/>
                  <a:gd name="connsiteY57" fmla="*/ 2185711 h 2736546"/>
                  <a:gd name="connsiteX58" fmla="*/ 1084786 w 3571666"/>
                  <a:gd name="connsiteY58" fmla="*/ 2181490 h 2736546"/>
                  <a:gd name="connsiteX59" fmla="*/ 1059460 w 3571666"/>
                  <a:gd name="connsiteY59" fmla="*/ 2177269 h 2736546"/>
                  <a:gd name="connsiteX60" fmla="*/ 1034135 w 3571666"/>
                  <a:gd name="connsiteY60" fmla="*/ 2166717 h 2736546"/>
                  <a:gd name="connsiteX61" fmla="*/ 1008809 w 3571666"/>
                  <a:gd name="connsiteY61" fmla="*/ 2154054 h 2736546"/>
                  <a:gd name="connsiteX62" fmla="*/ 987704 w 3571666"/>
                  <a:gd name="connsiteY62" fmla="*/ 2139281 h 2736546"/>
                  <a:gd name="connsiteX63" fmla="*/ 968710 w 3571666"/>
                  <a:gd name="connsiteY63" fmla="*/ 2120286 h 2736546"/>
                  <a:gd name="connsiteX64" fmla="*/ 953936 w 3571666"/>
                  <a:gd name="connsiteY64" fmla="*/ 2101292 h 2736546"/>
                  <a:gd name="connsiteX65" fmla="*/ 941273 w 3571666"/>
                  <a:gd name="connsiteY65" fmla="*/ 2078077 h 2736546"/>
                  <a:gd name="connsiteX66" fmla="*/ 932832 w 3571666"/>
                  <a:gd name="connsiteY66" fmla="*/ 2052751 h 2736546"/>
                  <a:gd name="connsiteX67" fmla="*/ 928611 w 3571666"/>
                  <a:gd name="connsiteY67" fmla="*/ 2027425 h 2736546"/>
                  <a:gd name="connsiteX68" fmla="*/ 928611 w 3571666"/>
                  <a:gd name="connsiteY68" fmla="*/ 2012652 h 2736546"/>
                  <a:gd name="connsiteX69" fmla="*/ 930721 w 3571666"/>
                  <a:gd name="connsiteY69" fmla="*/ 1999989 h 2736546"/>
                  <a:gd name="connsiteX70" fmla="*/ 310240 w 3571666"/>
                  <a:gd name="connsiteY70" fmla="*/ 2675342 h 2736546"/>
                  <a:gd name="connsiteX71" fmla="*/ 295467 w 3571666"/>
                  <a:gd name="connsiteY71" fmla="*/ 2690116 h 2736546"/>
                  <a:gd name="connsiteX72" fmla="*/ 280694 w 3571666"/>
                  <a:gd name="connsiteY72" fmla="*/ 2700668 h 2736546"/>
                  <a:gd name="connsiteX73" fmla="*/ 265920 w 3571666"/>
                  <a:gd name="connsiteY73" fmla="*/ 2711220 h 2736546"/>
                  <a:gd name="connsiteX74" fmla="*/ 249036 w 3571666"/>
                  <a:gd name="connsiteY74" fmla="*/ 2719662 h 2736546"/>
                  <a:gd name="connsiteX75" fmla="*/ 232153 w 3571666"/>
                  <a:gd name="connsiteY75" fmla="*/ 2728104 h 2736546"/>
                  <a:gd name="connsiteX76" fmla="*/ 217379 w 3571666"/>
                  <a:gd name="connsiteY76" fmla="*/ 2732325 h 2736546"/>
                  <a:gd name="connsiteX77" fmla="*/ 200495 w 3571666"/>
                  <a:gd name="connsiteY77" fmla="*/ 2734436 h 2736546"/>
                  <a:gd name="connsiteX78" fmla="*/ 183612 w 3571666"/>
                  <a:gd name="connsiteY78" fmla="*/ 2736546 h 2736546"/>
                  <a:gd name="connsiteX79" fmla="*/ 166728 w 3571666"/>
                  <a:gd name="connsiteY79" fmla="*/ 2736546 h 2736546"/>
                  <a:gd name="connsiteX80" fmla="*/ 149844 w 3571666"/>
                  <a:gd name="connsiteY80" fmla="*/ 2734436 h 2736546"/>
                  <a:gd name="connsiteX81" fmla="*/ 132960 w 3571666"/>
                  <a:gd name="connsiteY81" fmla="*/ 2730215 h 2736546"/>
                  <a:gd name="connsiteX82" fmla="*/ 118187 w 3571666"/>
                  <a:gd name="connsiteY82" fmla="*/ 2725994 h 2736546"/>
                  <a:gd name="connsiteX83" fmla="*/ 101303 w 3571666"/>
                  <a:gd name="connsiteY83" fmla="*/ 2719662 h 2736546"/>
                  <a:gd name="connsiteX84" fmla="*/ 86530 w 3571666"/>
                  <a:gd name="connsiteY84" fmla="*/ 2713331 h 2736546"/>
                  <a:gd name="connsiteX85" fmla="*/ 73867 w 3571666"/>
                  <a:gd name="connsiteY85" fmla="*/ 2704889 h 2736546"/>
                  <a:gd name="connsiteX86" fmla="*/ 61204 w 3571666"/>
                  <a:gd name="connsiteY86" fmla="*/ 2694337 h 2736546"/>
                  <a:gd name="connsiteX87" fmla="*/ 48541 w 3571666"/>
                  <a:gd name="connsiteY87" fmla="*/ 2683784 h 2736546"/>
                  <a:gd name="connsiteX88" fmla="*/ 37989 w 3571666"/>
                  <a:gd name="connsiteY88" fmla="*/ 2671121 h 2736546"/>
                  <a:gd name="connsiteX89" fmla="*/ 27436 w 3571666"/>
                  <a:gd name="connsiteY89" fmla="*/ 2658458 h 2736546"/>
                  <a:gd name="connsiteX90" fmla="*/ 18994 w 3571666"/>
                  <a:gd name="connsiteY90" fmla="*/ 2645796 h 2736546"/>
                  <a:gd name="connsiteX91" fmla="*/ 12663 w 3571666"/>
                  <a:gd name="connsiteY91" fmla="*/ 2631022 h 2736546"/>
                  <a:gd name="connsiteX92" fmla="*/ 6331 w 3571666"/>
                  <a:gd name="connsiteY92" fmla="*/ 2616249 h 2736546"/>
                  <a:gd name="connsiteX93" fmla="*/ 2110 w 3571666"/>
                  <a:gd name="connsiteY93" fmla="*/ 2599365 h 2736546"/>
                  <a:gd name="connsiteX94" fmla="*/ 0 w 3571666"/>
                  <a:gd name="connsiteY94" fmla="*/ 2582481 h 2736546"/>
                  <a:gd name="connsiteX95" fmla="*/ 0 w 3571666"/>
                  <a:gd name="connsiteY95" fmla="*/ 2565597 h 2736546"/>
                  <a:gd name="connsiteX96" fmla="*/ 2110 w 3571666"/>
                  <a:gd name="connsiteY96" fmla="*/ 2548714 h 2736546"/>
                  <a:gd name="connsiteX97" fmla="*/ 6331 w 3571666"/>
                  <a:gd name="connsiteY97" fmla="*/ 2531830 h 2736546"/>
                  <a:gd name="connsiteX98" fmla="*/ 12663 w 3571666"/>
                  <a:gd name="connsiteY98" fmla="*/ 2512835 h 2736546"/>
                  <a:gd name="connsiteX99" fmla="*/ 21105 w 3571666"/>
                  <a:gd name="connsiteY99" fmla="*/ 2495952 h 2736546"/>
                  <a:gd name="connsiteX100" fmla="*/ 31657 w 3571666"/>
                  <a:gd name="connsiteY100" fmla="*/ 2476957 h 2736546"/>
                  <a:gd name="connsiteX101" fmla="*/ 46431 w 3571666"/>
                  <a:gd name="connsiteY101" fmla="*/ 2457963 h 2736546"/>
                  <a:gd name="connsiteX102" fmla="*/ 61204 w 3571666"/>
                  <a:gd name="connsiteY102" fmla="*/ 2438969 h 2736546"/>
                  <a:gd name="connsiteX103" fmla="*/ 882009 w 3571666"/>
                  <a:gd name="connsiteY103" fmla="*/ 1550456 h 2736546"/>
                  <a:gd name="connsiteX104" fmla="*/ 877959 w 3571666"/>
                  <a:gd name="connsiteY104" fmla="*/ 1550456 h 2736546"/>
                  <a:gd name="connsiteX105" fmla="*/ 856854 w 3571666"/>
                  <a:gd name="connsiteY105" fmla="*/ 1548346 h 2736546"/>
                  <a:gd name="connsiteX106" fmla="*/ 837860 w 3571666"/>
                  <a:gd name="connsiteY106" fmla="*/ 1544125 h 2736546"/>
                  <a:gd name="connsiteX107" fmla="*/ 818865 w 3571666"/>
                  <a:gd name="connsiteY107" fmla="*/ 1539904 h 2736546"/>
                  <a:gd name="connsiteX108" fmla="*/ 801982 w 3571666"/>
                  <a:gd name="connsiteY108" fmla="*/ 1533572 h 2736546"/>
                  <a:gd name="connsiteX109" fmla="*/ 785098 w 3571666"/>
                  <a:gd name="connsiteY109" fmla="*/ 1525130 h 2736546"/>
                  <a:gd name="connsiteX110" fmla="*/ 770324 w 3571666"/>
                  <a:gd name="connsiteY110" fmla="*/ 1516688 h 2736546"/>
                  <a:gd name="connsiteX111" fmla="*/ 755551 w 3571666"/>
                  <a:gd name="connsiteY111" fmla="*/ 1508247 h 2736546"/>
                  <a:gd name="connsiteX112" fmla="*/ 742888 w 3571666"/>
                  <a:gd name="connsiteY112" fmla="*/ 1499805 h 2736546"/>
                  <a:gd name="connsiteX113" fmla="*/ 734446 w 3571666"/>
                  <a:gd name="connsiteY113" fmla="*/ 1489252 h 2736546"/>
                  <a:gd name="connsiteX114" fmla="*/ 726004 w 3571666"/>
                  <a:gd name="connsiteY114" fmla="*/ 1478700 h 2736546"/>
                  <a:gd name="connsiteX115" fmla="*/ 719673 w 3571666"/>
                  <a:gd name="connsiteY115" fmla="*/ 1468147 h 2736546"/>
                  <a:gd name="connsiteX116" fmla="*/ 713341 w 3571666"/>
                  <a:gd name="connsiteY116" fmla="*/ 1457595 h 2736546"/>
                  <a:gd name="connsiteX117" fmla="*/ 709120 w 3571666"/>
                  <a:gd name="connsiteY117" fmla="*/ 1444932 h 2736546"/>
                  <a:gd name="connsiteX118" fmla="*/ 707010 w 3571666"/>
                  <a:gd name="connsiteY118" fmla="*/ 1432269 h 2736546"/>
                  <a:gd name="connsiteX119" fmla="*/ 707010 w 3571666"/>
                  <a:gd name="connsiteY119" fmla="*/ 1419606 h 2736546"/>
                  <a:gd name="connsiteX120" fmla="*/ 707010 w 3571666"/>
                  <a:gd name="connsiteY120" fmla="*/ 1406944 h 2736546"/>
                  <a:gd name="connsiteX121" fmla="*/ 709120 w 3571666"/>
                  <a:gd name="connsiteY121" fmla="*/ 1394281 h 2736546"/>
                  <a:gd name="connsiteX122" fmla="*/ 711231 w 3571666"/>
                  <a:gd name="connsiteY122" fmla="*/ 1381618 h 2736546"/>
                  <a:gd name="connsiteX123" fmla="*/ 717562 w 3571666"/>
                  <a:gd name="connsiteY123" fmla="*/ 1368955 h 2736546"/>
                  <a:gd name="connsiteX124" fmla="*/ 723894 w 3571666"/>
                  <a:gd name="connsiteY124" fmla="*/ 1358403 h 2736546"/>
                  <a:gd name="connsiteX125" fmla="*/ 730225 w 3571666"/>
                  <a:gd name="connsiteY125" fmla="*/ 1347850 h 2736546"/>
                  <a:gd name="connsiteX126" fmla="*/ 740778 w 3571666"/>
                  <a:gd name="connsiteY126" fmla="*/ 1337298 h 2736546"/>
                  <a:gd name="connsiteX127" fmla="*/ 751330 w 3571666"/>
                  <a:gd name="connsiteY127" fmla="*/ 1328856 h 2736546"/>
                  <a:gd name="connsiteX128" fmla="*/ 1287392 w 3571666"/>
                  <a:gd name="connsiteY128" fmla="*/ 934196 h 2736546"/>
                  <a:gd name="connsiteX129" fmla="*/ 1306386 w 3571666"/>
                  <a:gd name="connsiteY129" fmla="*/ 921534 h 2736546"/>
                  <a:gd name="connsiteX130" fmla="*/ 1329601 w 3571666"/>
                  <a:gd name="connsiteY130" fmla="*/ 908871 h 2736546"/>
                  <a:gd name="connsiteX131" fmla="*/ 1392916 w 3571666"/>
                  <a:gd name="connsiteY131" fmla="*/ 877214 h 2736546"/>
                  <a:gd name="connsiteX132" fmla="*/ 1468893 w 3571666"/>
                  <a:gd name="connsiteY132" fmla="*/ 847667 h 2736546"/>
                  <a:gd name="connsiteX133" fmla="*/ 1508992 w 3571666"/>
                  <a:gd name="connsiteY133" fmla="*/ 832894 h 2736546"/>
                  <a:gd name="connsiteX134" fmla="*/ 1551202 w 3571666"/>
                  <a:gd name="connsiteY134" fmla="*/ 818120 h 2736546"/>
                  <a:gd name="connsiteX135" fmla="*/ 1593411 w 3571666"/>
                  <a:gd name="connsiteY135" fmla="*/ 805457 h 2736546"/>
                  <a:gd name="connsiteX136" fmla="*/ 1597058 w 3571666"/>
                  <a:gd name="connsiteY136" fmla="*/ 804689 h 2736546"/>
                  <a:gd name="connsiteX137" fmla="*/ 1608185 w 3571666"/>
                  <a:gd name="connsiteY137" fmla="*/ 799126 h 2736546"/>
                  <a:gd name="connsiteX138" fmla="*/ 1629289 w 3571666"/>
                  <a:gd name="connsiteY138" fmla="*/ 790684 h 2736546"/>
                  <a:gd name="connsiteX139" fmla="*/ 1673609 w 3571666"/>
                  <a:gd name="connsiteY139" fmla="*/ 773800 h 2736546"/>
                  <a:gd name="connsiteX140" fmla="*/ 1724261 w 3571666"/>
                  <a:gd name="connsiteY140" fmla="*/ 759027 h 2736546"/>
                  <a:gd name="connsiteX141" fmla="*/ 1779133 w 3571666"/>
                  <a:gd name="connsiteY141" fmla="*/ 746364 h 2736546"/>
                  <a:gd name="connsiteX142" fmla="*/ 1890023 w 3571666"/>
                  <a:gd name="connsiteY142" fmla="*/ 719128 h 2736546"/>
                  <a:gd name="connsiteX143" fmla="*/ 2480549 w 3571666"/>
                  <a:gd name="connsiteY143" fmla="*/ 80198 h 273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3571666" h="2736546">
                    <a:moveTo>
                      <a:pt x="3261426" y="0"/>
                    </a:moveTo>
                    <a:lnTo>
                      <a:pt x="3571666" y="287025"/>
                    </a:lnTo>
                    <a:lnTo>
                      <a:pt x="2608736" y="1329583"/>
                    </a:lnTo>
                    <a:lnTo>
                      <a:pt x="2608551" y="1330967"/>
                    </a:lnTo>
                    <a:lnTo>
                      <a:pt x="2600110" y="1364735"/>
                    </a:lnTo>
                    <a:lnTo>
                      <a:pt x="2591668" y="1400613"/>
                    </a:lnTo>
                    <a:lnTo>
                      <a:pt x="2581115" y="1438601"/>
                    </a:lnTo>
                    <a:lnTo>
                      <a:pt x="2570563" y="1478700"/>
                    </a:lnTo>
                    <a:lnTo>
                      <a:pt x="2555789" y="1518800"/>
                    </a:lnTo>
                    <a:lnTo>
                      <a:pt x="2538906" y="1558899"/>
                    </a:lnTo>
                    <a:lnTo>
                      <a:pt x="2522022" y="1601108"/>
                    </a:lnTo>
                    <a:lnTo>
                      <a:pt x="2503028" y="1641207"/>
                    </a:lnTo>
                    <a:lnTo>
                      <a:pt x="2481923" y="1681306"/>
                    </a:lnTo>
                    <a:lnTo>
                      <a:pt x="2460818" y="1721406"/>
                    </a:lnTo>
                    <a:lnTo>
                      <a:pt x="2437603" y="1759394"/>
                    </a:lnTo>
                    <a:lnTo>
                      <a:pt x="2412277" y="1795272"/>
                    </a:lnTo>
                    <a:lnTo>
                      <a:pt x="2386951" y="1829040"/>
                    </a:lnTo>
                    <a:lnTo>
                      <a:pt x="2359515" y="1860697"/>
                    </a:lnTo>
                    <a:lnTo>
                      <a:pt x="1838227" y="2430527"/>
                    </a:lnTo>
                    <a:lnTo>
                      <a:pt x="1827675" y="2443190"/>
                    </a:lnTo>
                    <a:lnTo>
                      <a:pt x="1815012" y="2451631"/>
                    </a:lnTo>
                    <a:lnTo>
                      <a:pt x="1791796" y="2468515"/>
                    </a:lnTo>
                    <a:lnTo>
                      <a:pt x="1766471" y="2481178"/>
                    </a:lnTo>
                    <a:lnTo>
                      <a:pt x="1739034" y="2487510"/>
                    </a:lnTo>
                    <a:lnTo>
                      <a:pt x="1711598" y="2491731"/>
                    </a:lnTo>
                    <a:lnTo>
                      <a:pt x="1686272" y="2489620"/>
                    </a:lnTo>
                    <a:lnTo>
                      <a:pt x="1658836" y="2485399"/>
                    </a:lnTo>
                    <a:lnTo>
                      <a:pt x="1633511" y="2479068"/>
                    </a:lnTo>
                    <a:lnTo>
                      <a:pt x="1610295" y="2468515"/>
                    </a:lnTo>
                    <a:lnTo>
                      <a:pt x="1587080" y="2453742"/>
                    </a:lnTo>
                    <a:lnTo>
                      <a:pt x="1568086" y="2436858"/>
                    </a:lnTo>
                    <a:lnTo>
                      <a:pt x="1551202" y="2417864"/>
                    </a:lnTo>
                    <a:lnTo>
                      <a:pt x="1538539" y="2396759"/>
                    </a:lnTo>
                    <a:lnTo>
                      <a:pt x="1530097" y="2373544"/>
                    </a:lnTo>
                    <a:lnTo>
                      <a:pt x="1525876" y="2348218"/>
                    </a:lnTo>
                    <a:lnTo>
                      <a:pt x="1525876" y="2335555"/>
                    </a:lnTo>
                    <a:lnTo>
                      <a:pt x="1525876" y="2320782"/>
                    </a:lnTo>
                    <a:lnTo>
                      <a:pt x="1500550" y="2333445"/>
                    </a:lnTo>
                    <a:lnTo>
                      <a:pt x="1473114" y="2341887"/>
                    </a:lnTo>
                    <a:lnTo>
                      <a:pt x="1447788" y="2346108"/>
                    </a:lnTo>
                    <a:lnTo>
                      <a:pt x="1420352" y="2346108"/>
                    </a:lnTo>
                    <a:lnTo>
                      <a:pt x="1392916" y="2343997"/>
                    </a:lnTo>
                    <a:lnTo>
                      <a:pt x="1367590" y="2337666"/>
                    </a:lnTo>
                    <a:lnTo>
                      <a:pt x="1342264" y="2329224"/>
                    </a:lnTo>
                    <a:lnTo>
                      <a:pt x="1319049" y="2316561"/>
                    </a:lnTo>
                    <a:lnTo>
                      <a:pt x="1297944" y="2301787"/>
                    </a:lnTo>
                    <a:lnTo>
                      <a:pt x="1281061" y="2284904"/>
                    </a:lnTo>
                    <a:lnTo>
                      <a:pt x="1264177" y="2263799"/>
                    </a:lnTo>
                    <a:lnTo>
                      <a:pt x="1251514" y="2242694"/>
                    </a:lnTo>
                    <a:lnTo>
                      <a:pt x="1243072" y="2219479"/>
                    </a:lnTo>
                    <a:lnTo>
                      <a:pt x="1238851" y="2194153"/>
                    </a:lnTo>
                    <a:lnTo>
                      <a:pt x="1238851" y="2166717"/>
                    </a:lnTo>
                    <a:lnTo>
                      <a:pt x="1245182" y="2139281"/>
                    </a:lnTo>
                    <a:lnTo>
                      <a:pt x="1219857" y="2156164"/>
                    </a:lnTo>
                    <a:lnTo>
                      <a:pt x="1194531" y="2170938"/>
                    </a:lnTo>
                    <a:lnTo>
                      <a:pt x="1167095" y="2179380"/>
                    </a:lnTo>
                    <a:lnTo>
                      <a:pt x="1139659" y="2183601"/>
                    </a:lnTo>
                    <a:lnTo>
                      <a:pt x="1112222" y="2185711"/>
                    </a:lnTo>
                    <a:lnTo>
                      <a:pt x="1084786" y="2181490"/>
                    </a:lnTo>
                    <a:lnTo>
                      <a:pt x="1059460" y="2177269"/>
                    </a:lnTo>
                    <a:lnTo>
                      <a:pt x="1034135" y="2166717"/>
                    </a:lnTo>
                    <a:lnTo>
                      <a:pt x="1008809" y="2154054"/>
                    </a:lnTo>
                    <a:lnTo>
                      <a:pt x="987704" y="2139281"/>
                    </a:lnTo>
                    <a:lnTo>
                      <a:pt x="968710" y="2120286"/>
                    </a:lnTo>
                    <a:lnTo>
                      <a:pt x="953936" y="2101292"/>
                    </a:lnTo>
                    <a:lnTo>
                      <a:pt x="941273" y="2078077"/>
                    </a:lnTo>
                    <a:lnTo>
                      <a:pt x="932832" y="2052751"/>
                    </a:lnTo>
                    <a:lnTo>
                      <a:pt x="928611" y="2027425"/>
                    </a:lnTo>
                    <a:lnTo>
                      <a:pt x="928611" y="2012652"/>
                    </a:lnTo>
                    <a:lnTo>
                      <a:pt x="930721" y="1999989"/>
                    </a:lnTo>
                    <a:lnTo>
                      <a:pt x="310240" y="2675342"/>
                    </a:lnTo>
                    <a:lnTo>
                      <a:pt x="295467" y="2690116"/>
                    </a:lnTo>
                    <a:lnTo>
                      <a:pt x="280694" y="2700668"/>
                    </a:lnTo>
                    <a:lnTo>
                      <a:pt x="265920" y="2711220"/>
                    </a:lnTo>
                    <a:lnTo>
                      <a:pt x="249036" y="2719662"/>
                    </a:lnTo>
                    <a:lnTo>
                      <a:pt x="232153" y="2728104"/>
                    </a:lnTo>
                    <a:lnTo>
                      <a:pt x="217379" y="2732325"/>
                    </a:lnTo>
                    <a:lnTo>
                      <a:pt x="200495" y="2734436"/>
                    </a:lnTo>
                    <a:lnTo>
                      <a:pt x="183612" y="2736546"/>
                    </a:lnTo>
                    <a:lnTo>
                      <a:pt x="166728" y="2736546"/>
                    </a:lnTo>
                    <a:lnTo>
                      <a:pt x="149844" y="2734436"/>
                    </a:lnTo>
                    <a:lnTo>
                      <a:pt x="132960" y="2730215"/>
                    </a:lnTo>
                    <a:lnTo>
                      <a:pt x="118187" y="2725994"/>
                    </a:lnTo>
                    <a:lnTo>
                      <a:pt x="101303" y="2719662"/>
                    </a:lnTo>
                    <a:lnTo>
                      <a:pt x="86530" y="2713331"/>
                    </a:lnTo>
                    <a:lnTo>
                      <a:pt x="73867" y="2704889"/>
                    </a:lnTo>
                    <a:lnTo>
                      <a:pt x="61204" y="2694337"/>
                    </a:lnTo>
                    <a:lnTo>
                      <a:pt x="48541" y="2683784"/>
                    </a:lnTo>
                    <a:lnTo>
                      <a:pt x="37989" y="2671121"/>
                    </a:lnTo>
                    <a:lnTo>
                      <a:pt x="27436" y="2658458"/>
                    </a:lnTo>
                    <a:lnTo>
                      <a:pt x="18994" y="2645796"/>
                    </a:lnTo>
                    <a:lnTo>
                      <a:pt x="12663" y="2631022"/>
                    </a:lnTo>
                    <a:lnTo>
                      <a:pt x="6331" y="2616249"/>
                    </a:lnTo>
                    <a:lnTo>
                      <a:pt x="2110" y="2599365"/>
                    </a:lnTo>
                    <a:lnTo>
                      <a:pt x="0" y="2582481"/>
                    </a:lnTo>
                    <a:lnTo>
                      <a:pt x="0" y="2565597"/>
                    </a:lnTo>
                    <a:lnTo>
                      <a:pt x="2110" y="2548714"/>
                    </a:lnTo>
                    <a:lnTo>
                      <a:pt x="6331" y="2531830"/>
                    </a:lnTo>
                    <a:lnTo>
                      <a:pt x="12663" y="2512835"/>
                    </a:lnTo>
                    <a:lnTo>
                      <a:pt x="21105" y="2495952"/>
                    </a:lnTo>
                    <a:lnTo>
                      <a:pt x="31657" y="2476957"/>
                    </a:lnTo>
                    <a:lnTo>
                      <a:pt x="46431" y="2457963"/>
                    </a:lnTo>
                    <a:lnTo>
                      <a:pt x="61204" y="2438969"/>
                    </a:lnTo>
                    <a:lnTo>
                      <a:pt x="882009" y="1550456"/>
                    </a:lnTo>
                    <a:lnTo>
                      <a:pt x="877959" y="1550456"/>
                    </a:lnTo>
                    <a:lnTo>
                      <a:pt x="856854" y="1548346"/>
                    </a:lnTo>
                    <a:lnTo>
                      <a:pt x="837860" y="1544125"/>
                    </a:lnTo>
                    <a:lnTo>
                      <a:pt x="818865" y="1539904"/>
                    </a:lnTo>
                    <a:lnTo>
                      <a:pt x="801982" y="1533572"/>
                    </a:lnTo>
                    <a:lnTo>
                      <a:pt x="785098" y="1525130"/>
                    </a:lnTo>
                    <a:lnTo>
                      <a:pt x="770324" y="1516688"/>
                    </a:lnTo>
                    <a:lnTo>
                      <a:pt x="755551" y="1508247"/>
                    </a:lnTo>
                    <a:lnTo>
                      <a:pt x="742888" y="1499805"/>
                    </a:lnTo>
                    <a:lnTo>
                      <a:pt x="734446" y="1489252"/>
                    </a:lnTo>
                    <a:lnTo>
                      <a:pt x="726004" y="1478700"/>
                    </a:lnTo>
                    <a:lnTo>
                      <a:pt x="719673" y="1468147"/>
                    </a:lnTo>
                    <a:lnTo>
                      <a:pt x="713341" y="1457595"/>
                    </a:lnTo>
                    <a:lnTo>
                      <a:pt x="709120" y="1444932"/>
                    </a:lnTo>
                    <a:lnTo>
                      <a:pt x="707010" y="1432269"/>
                    </a:lnTo>
                    <a:lnTo>
                      <a:pt x="707010" y="1419606"/>
                    </a:lnTo>
                    <a:lnTo>
                      <a:pt x="707010" y="1406944"/>
                    </a:lnTo>
                    <a:lnTo>
                      <a:pt x="709120" y="1394281"/>
                    </a:lnTo>
                    <a:lnTo>
                      <a:pt x="711231" y="1381618"/>
                    </a:lnTo>
                    <a:lnTo>
                      <a:pt x="717562" y="1368955"/>
                    </a:lnTo>
                    <a:lnTo>
                      <a:pt x="723894" y="1358403"/>
                    </a:lnTo>
                    <a:lnTo>
                      <a:pt x="730225" y="1347850"/>
                    </a:lnTo>
                    <a:lnTo>
                      <a:pt x="740778" y="1337298"/>
                    </a:lnTo>
                    <a:lnTo>
                      <a:pt x="751330" y="1328856"/>
                    </a:lnTo>
                    <a:lnTo>
                      <a:pt x="1287392" y="934196"/>
                    </a:lnTo>
                    <a:lnTo>
                      <a:pt x="1306386" y="921534"/>
                    </a:lnTo>
                    <a:lnTo>
                      <a:pt x="1329601" y="908871"/>
                    </a:lnTo>
                    <a:lnTo>
                      <a:pt x="1392916" y="877214"/>
                    </a:lnTo>
                    <a:lnTo>
                      <a:pt x="1468893" y="847667"/>
                    </a:lnTo>
                    <a:lnTo>
                      <a:pt x="1508992" y="832894"/>
                    </a:lnTo>
                    <a:lnTo>
                      <a:pt x="1551202" y="818120"/>
                    </a:lnTo>
                    <a:lnTo>
                      <a:pt x="1593411" y="805457"/>
                    </a:lnTo>
                    <a:lnTo>
                      <a:pt x="1597058" y="804689"/>
                    </a:lnTo>
                    <a:lnTo>
                      <a:pt x="1608185" y="799126"/>
                    </a:lnTo>
                    <a:lnTo>
                      <a:pt x="1629289" y="790684"/>
                    </a:lnTo>
                    <a:lnTo>
                      <a:pt x="1673609" y="773800"/>
                    </a:lnTo>
                    <a:lnTo>
                      <a:pt x="1724261" y="759027"/>
                    </a:lnTo>
                    <a:lnTo>
                      <a:pt x="1779133" y="746364"/>
                    </a:lnTo>
                    <a:lnTo>
                      <a:pt x="1890023" y="719128"/>
                    </a:lnTo>
                    <a:lnTo>
                      <a:pt x="2480549" y="80198"/>
                    </a:lnTo>
                    <a:close/>
                  </a:path>
                </a:pathLst>
              </a:custGeom>
              <a:solidFill>
                <a:srgbClr val="FFE0C1"/>
              </a:solidFill>
              <a:ln w="25400">
                <a:noFill/>
              </a:ln>
            </p:spPr>
            <p:txBody>
              <a:bodyPr vert="horz" wrap="square" lIns="91440" tIns="45720" rIns="91440" bIns="45720" numCol="1" anchor="t" anchorCtr="0" compatLnSpc="1">
                <a:normAutofit/>
              </a:bodyPr>
              <a:lstStyle/>
              <a:p>
                <a:endParaRPr lang="en-AU"/>
              </a:p>
            </p:txBody>
          </p:sp>
          <p:sp>
            <p:nvSpPr>
              <p:cNvPr id="121" name="iŝlîďe"/>
              <p:cNvSpPr/>
              <p:nvPr/>
            </p:nvSpPr>
            <p:spPr bwMode="auto">
              <a:xfrm>
                <a:off x="10520304" y="258242"/>
                <a:ext cx="1483667" cy="1205084"/>
              </a:xfrm>
              <a:custGeom>
                <a:avLst/>
                <a:gdLst>
                  <a:gd name="T0" fmla="*/ 758 w 1406"/>
                  <a:gd name="T1" fmla="*/ 1142 h 1142"/>
                  <a:gd name="T2" fmla="*/ 1396 w 1406"/>
                  <a:gd name="T3" fmla="*/ 438 h 1142"/>
                  <a:gd name="T4" fmla="*/ 1406 w 1406"/>
                  <a:gd name="T5" fmla="*/ 248 h 1142"/>
                  <a:gd name="T6" fmla="*/ 1138 w 1406"/>
                  <a:gd name="T7" fmla="*/ 0 h 1142"/>
                  <a:gd name="T8" fmla="*/ 322 w 1406"/>
                  <a:gd name="T9" fmla="*/ 88 h 1142"/>
                  <a:gd name="T10" fmla="*/ 0 w 1406"/>
                  <a:gd name="T11" fmla="*/ 444 h 1142"/>
                  <a:gd name="T12" fmla="*/ 758 w 1406"/>
                  <a:gd name="T13" fmla="*/ 1142 h 1142"/>
                </a:gdLst>
                <a:ahLst/>
                <a:cxnLst>
                  <a:cxn ang="0">
                    <a:pos x="T0" y="T1"/>
                  </a:cxn>
                  <a:cxn ang="0">
                    <a:pos x="T2" y="T3"/>
                  </a:cxn>
                  <a:cxn ang="0">
                    <a:pos x="T4" y="T5"/>
                  </a:cxn>
                  <a:cxn ang="0">
                    <a:pos x="T6" y="T7"/>
                  </a:cxn>
                  <a:cxn ang="0">
                    <a:pos x="T8" y="T9"/>
                  </a:cxn>
                  <a:cxn ang="0">
                    <a:pos x="T10" y="T11"/>
                  </a:cxn>
                  <a:cxn ang="0">
                    <a:pos x="T12" y="T13"/>
                  </a:cxn>
                </a:cxnLst>
                <a:rect l="0" t="0" r="r" b="b"/>
                <a:pathLst>
                  <a:path w="1406" h="1142">
                    <a:moveTo>
                      <a:pt x="758" y="1142"/>
                    </a:moveTo>
                    <a:lnTo>
                      <a:pt x="1396" y="438"/>
                    </a:lnTo>
                    <a:lnTo>
                      <a:pt x="1406" y="248"/>
                    </a:lnTo>
                    <a:lnTo>
                      <a:pt x="1138" y="0"/>
                    </a:lnTo>
                    <a:lnTo>
                      <a:pt x="322" y="88"/>
                    </a:lnTo>
                    <a:lnTo>
                      <a:pt x="0" y="444"/>
                    </a:lnTo>
                    <a:lnTo>
                      <a:pt x="758" y="1142"/>
                    </a:lnTo>
                    <a:close/>
                  </a:path>
                </a:pathLst>
              </a:custGeom>
              <a:solidFill>
                <a:srgbClr val="FFC000"/>
              </a:solidFill>
              <a:ln w="25400">
                <a:noFill/>
              </a:ln>
            </p:spPr>
            <p:txBody>
              <a:bodyPr vert="horz" wrap="square" lIns="91440" tIns="45720" rIns="91440" bIns="45720" numCol="1" anchor="t" anchorCtr="0" compatLnSpc="1">
                <a:normAutofit/>
              </a:bodyPr>
              <a:lstStyle/>
              <a:p>
                <a:endParaRPr lang="en-AU"/>
              </a:p>
            </p:txBody>
          </p:sp>
          <p:sp>
            <p:nvSpPr>
              <p:cNvPr id="122" name="ïşļîḍé"/>
              <p:cNvSpPr/>
              <p:nvPr/>
            </p:nvSpPr>
            <p:spPr bwMode="auto">
              <a:xfrm>
                <a:off x="10798887" y="-272731"/>
                <a:ext cx="1545206" cy="1438479"/>
              </a:xfrm>
              <a:custGeom>
                <a:avLst/>
                <a:gdLst>
                  <a:gd name="T0" fmla="*/ 1432 w 2042"/>
                  <a:gd name="T1" fmla="*/ 0 h 2314"/>
                  <a:gd name="T2" fmla="*/ 0 w 2042"/>
                  <a:gd name="T3" fmla="*/ 1586 h 2314"/>
                  <a:gd name="T4" fmla="*/ 796 w 2042"/>
                  <a:gd name="T5" fmla="*/ 2314 h 2314"/>
                  <a:gd name="T6" fmla="*/ 2042 w 2042"/>
                  <a:gd name="T7" fmla="*/ 934 h 2314"/>
                  <a:gd name="T8" fmla="*/ 2042 w 2042"/>
                  <a:gd name="T9" fmla="*/ 0 h 2314"/>
                  <a:gd name="T10" fmla="*/ 1432 w 2042"/>
                  <a:gd name="T11" fmla="*/ 0 h 2314"/>
                  <a:gd name="connsiteX0" fmla="*/ 7013 w 10000"/>
                  <a:gd name="connsiteY0" fmla="*/ 0 h 10000"/>
                  <a:gd name="connsiteX1" fmla="*/ 0 w 10000"/>
                  <a:gd name="connsiteY1" fmla="*/ 6854 h 10000"/>
                  <a:gd name="connsiteX2" fmla="*/ 3898 w 10000"/>
                  <a:gd name="connsiteY2" fmla="*/ 10000 h 10000"/>
                  <a:gd name="connsiteX3" fmla="*/ 7171 w 10000"/>
                  <a:gd name="connsiteY3" fmla="*/ 6272 h 10000"/>
                  <a:gd name="connsiteX4" fmla="*/ 10000 w 10000"/>
                  <a:gd name="connsiteY4" fmla="*/ 0 h 10000"/>
                  <a:gd name="connsiteX5" fmla="*/ 7013 w 10000"/>
                  <a:gd name="connsiteY5" fmla="*/ 0 h 10000"/>
                  <a:gd name="connsiteX0-1" fmla="*/ 2769 w 10000"/>
                  <a:gd name="connsiteY0-2" fmla="*/ 4109 h 10000"/>
                  <a:gd name="connsiteX1-3" fmla="*/ 0 w 10000"/>
                  <a:gd name="connsiteY1-4" fmla="*/ 6854 h 10000"/>
                  <a:gd name="connsiteX2-5" fmla="*/ 3898 w 10000"/>
                  <a:gd name="connsiteY2-6" fmla="*/ 10000 h 10000"/>
                  <a:gd name="connsiteX3-7" fmla="*/ 7171 w 10000"/>
                  <a:gd name="connsiteY3-8" fmla="*/ 6272 h 10000"/>
                  <a:gd name="connsiteX4-9" fmla="*/ 10000 w 10000"/>
                  <a:gd name="connsiteY4-10" fmla="*/ 0 h 10000"/>
                  <a:gd name="connsiteX5-11" fmla="*/ 2769 w 10000"/>
                  <a:gd name="connsiteY5-12" fmla="*/ 4109 h 10000"/>
                  <a:gd name="connsiteX0-13" fmla="*/ 2769 w 7171"/>
                  <a:gd name="connsiteY0-14" fmla="*/ 0 h 5891"/>
                  <a:gd name="connsiteX1-15" fmla="*/ 0 w 7171"/>
                  <a:gd name="connsiteY1-16" fmla="*/ 2745 h 5891"/>
                  <a:gd name="connsiteX2-17" fmla="*/ 3898 w 7171"/>
                  <a:gd name="connsiteY2-18" fmla="*/ 5891 h 5891"/>
                  <a:gd name="connsiteX3-19" fmla="*/ 7171 w 7171"/>
                  <a:gd name="connsiteY3-20" fmla="*/ 2163 h 5891"/>
                  <a:gd name="connsiteX4-21" fmla="*/ 7112 w 7171"/>
                  <a:gd name="connsiteY4-22" fmla="*/ 52 h 5891"/>
                  <a:gd name="connsiteX5-23" fmla="*/ 2769 w 7171"/>
                  <a:gd name="connsiteY5-24" fmla="*/ 0 h 589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7171" h="5891">
                    <a:moveTo>
                      <a:pt x="2769" y="0"/>
                    </a:moveTo>
                    <a:lnTo>
                      <a:pt x="0" y="2745"/>
                    </a:lnTo>
                    <a:lnTo>
                      <a:pt x="3898" y="5891"/>
                    </a:lnTo>
                    <a:lnTo>
                      <a:pt x="7171" y="2163"/>
                    </a:lnTo>
                    <a:cubicBezTo>
                      <a:pt x="7151" y="1459"/>
                      <a:pt x="7132" y="756"/>
                      <a:pt x="7112" y="52"/>
                    </a:cubicBezTo>
                    <a:lnTo>
                      <a:pt x="2769" y="0"/>
                    </a:lnTo>
                    <a:close/>
                  </a:path>
                </a:pathLst>
              </a:custGeom>
              <a:solidFill>
                <a:schemeClr val="accent3">
                  <a:lumMod val="50000"/>
                </a:schemeClr>
              </a:solidFill>
              <a:ln w="25400">
                <a:noFill/>
              </a:ln>
            </p:spPr>
            <p:txBody>
              <a:bodyPr vert="horz" wrap="square" lIns="91440" tIns="45720" rIns="91440" bIns="45720" numCol="1" anchor="t" anchorCtr="0" compatLnSpc="1">
                <a:normAutofit/>
              </a:bodyPr>
              <a:lstStyle/>
              <a:p>
                <a:endParaRPr lang="en-AU"/>
              </a:p>
            </p:txBody>
          </p:sp>
          <p:sp>
            <p:nvSpPr>
              <p:cNvPr id="123" name="íSḻiḍê"/>
              <p:cNvSpPr/>
              <p:nvPr/>
            </p:nvSpPr>
            <p:spPr bwMode="auto">
              <a:xfrm>
                <a:off x="9344805" y="2054223"/>
                <a:ext cx="787209" cy="618370"/>
              </a:xfrm>
              <a:custGeom>
                <a:avLst/>
                <a:gdLst>
                  <a:gd name="T0" fmla="*/ 746 w 746"/>
                  <a:gd name="T1" fmla="*/ 380 h 586"/>
                  <a:gd name="T2" fmla="*/ 746 w 746"/>
                  <a:gd name="T3" fmla="*/ 380 h 586"/>
                  <a:gd name="T4" fmla="*/ 566 w 746"/>
                  <a:gd name="T5" fmla="*/ 586 h 586"/>
                  <a:gd name="T6" fmla="*/ 566 w 746"/>
                  <a:gd name="T7" fmla="*/ 586 h 586"/>
                  <a:gd name="T8" fmla="*/ 566 w 746"/>
                  <a:gd name="T9" fmla="*/ 562 h 586"/>
                  <a:gd name="T10" fmla="*/ 566 w 746"/>
                  <a:gd name="T11" fmla="*/ 562 h 586"/>
                  <a:gd name="T12" fmla="*/ 550 w 746"/>
                  <a:gd name="T13" fmla="*/ 572 h 586"/>
                  <a:gd name="T14" fmla="*/ 532 w 746"/>
                  <a:gd name="T15" fmla="*/ 578 h 586"/>
                  <a:gd name="T16" fmla="*/ 532 w 746"/>
                  <a:gd name="T17" fmla="*/ 578 h 586"/>
                  <a:gd name="T18" fmla="*/ 676 w 746"/>
                  <a:gd name="T19" fmla="*/ 446 h 586"/>
                  <a:gd name="T20" fmla="*/ 746 w 746"/>
                  <a:gd name="T21" fmla="*/ 380 h 586"/>
                  <a:gd name="T22" fmla="*/ 0 w 746"/>
                  <a:gd name="T23" fmla="*/ 262 h 586"/>
                  <a:gd name="T24" fmla="*/ 0 w 746"/>
                  <a:gd name="T25" fmla="*/ 262 h 586"/>
                  <a:gd name="T26" fmla="*/ 0 w 746"/>
                  <a:gd name="T27" fmla="*/ 280 h 586"/>
                  <a:gd name="T28" fmla="*/ 2 w 746"/>
                  <a:gd name="T29" fmla="*/ 298 h 586"/>
                  <a:gd name="T30" fmla="*/ 2 w 746"/>
                  <a:gd name="T31" fmla="*/ 298 h 586"/>
                  <a:gd name="T32" fmla="*/ 82 w 746"/>
                  <a:gd name="T33" fmla="*/ 206 h 586"/>
                  <a:gd name="T34" fmla="*/ 164 w 746"/>
                  <a:gd name="T35" fmla="*/ 110 h 586"/>
                  <a:gd name="T36" fmla="*/ 256 w 746"/>
                  <a:gd name="T37" fmla="*/ 0 h 586"/>
                  <a:gd name="T38" fmla="*/ 256 w 746"/>
                  <a:gd name="T39" fmla="*/ 0 h 586"/>
                  <a:gd name="T40" fmla="*/ 156 w 746"/>
                  <a:gd name="T41" fmla="*/ 100 h 586"/>
                  <a:gd name="T42" fmla="*/ 72 w 746"/>
                  <a:gd name="T43" fmla="*/ 184 h 586"/>
                  <a:gd name="T44" fmla="*/ 2 w 746"/>
                  <a:gd name="T45" fmla="*/ 258 h 586"/>
                  <a:gd name="T46" fmla="*/ 2 w 746"/>
                  <a:gd name="T47" fmla="*/ 258 h 586"/>
                  <a:gd name="T48" fmla="*/ 2 w 746"/>
                  <a:gd name="T49" fmla="*/ 258 h 586"/>
                  <a:gd name="T50" fmla="*/ 0 w 746"/>
                  <a:gd name="T51" fmla="*/ 262 h 586"/>
                  <a:gd name="T52" fmla="*/ 244 w 746"/>
                  <a:gd name="T53" fmla="*/ 422 h 586"/>
                  <a:gd name="T54" fmla="*/ 244 w 746"/>
                  <a:gd name="T55" fmla="*/ 422 h 586"/>
                  <a:gd name="T56" fmla="*/ 258 w 746"/>
                  <a:gd name="T57" fmla="*/ 416 h 586"/>
                  <a:gd name="T58" fmla="*/ 274 w 746"/>
                  <a:gd name="T59" fmla="*/ 408 h 586"/>
                  <a:gd name="T60" fmla="*/ 286 w 746"/>
                  <a:gd name="T61" fmla="*/ 400 h 586"/>
                  <a:gd name="T62" fmla="*/ 300 w 746"/>
                  <a:gd name="T63" fmla="*/ 390 h 586"/>
                  <a:gd name="T64" fmla="*/ 300 w 746"/>
                  <a:gd name="T65" fmla="*/ 390 h 586"/>
                  <a:gd name="T66" fmla="*/ 296 w 746"/>
                  <a:gd name="T67" fmla="*/ 404 h 586"/>
                  <a:gd name="T68" fmla="*/ 294 w 746"/>
                  <a:gd name="T69" fmla="*/ 418 h 586"/>
                  <a:gd name="T70" fmla="*/ 294 w 746"/>
                  <a:gd name="T71" fmla="*/ 418 h 586"/>
                  <a:gd name="T72" fmla="*/ 508 w 746"/>
                  <a:gd name="T73" fmla="*/ 180 h 586"/>
                  <a:gd name="T74" fmla="*/ 508 w 746"/>
                  <a:gd name="T75" fmla="*/ 180 h 586"/>
                  <a:gd name="T76" fmla="*/ 414 w 746"/>
                  <a:gd name="T77" fmla="*/ 266 h 586"/>
                  <a:gd name="T78" fmla="*/ 328 w 746"/>
                  <a:gd name="T79" fmla="*/ 344 h 586"/>
                  <a:gd name="T80" fmla="*/ 244 w 746"/>
                  <a:gd name="T81" fmla="*/ 42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6" h="586">
                    <a:moveTo>
                      <a:pt x="746" y="380"/>
                    </a:moveTo>
                    <a:lnTo>
                      <a:pt x="746" y="380"/>
                    </a:lnTo>
                    <a:lnTo>
                      <a:pt x="566" y="586"/>
                    </a:lnTo>
                    <a:lnTo>
                      <a:pt x="566" y="586"/>
                    </a:lnTo>
                    <a:lnTo>
                      <a:pt x="566" y="562"/>
                    </a:lnTo>
                    <a:lnTo>
                      <a:pt x="566" y="562"/>
                    </a:lnTo>
                    <a:lnTo>
                      <a:pt x="550" y="572"/>
                    </a:lnTo>
                    <a:lnTo>
                      <a:pt x="532" y="578"/>
                    </a:lnTo>
                    <a:lnTo>
                      <a:pt x="532" y="578"/>
                    </a:lnTo>
                    <a:lnTo>
                      <a:pt x="676" y="446"/>
                    </a:lnTo>
                    <a:lnTo>
                      <a:pt x="746" y="380"/>
                    </a:lnTo>
                    <a:close/>
                    <a:moveTo>
                      <a:pt x="0" y="262"/>
                    </a:moveTo>
                    <a:lnTo>
                      <a:pt x="0" y="262"/>
                    </a:lnTo>
                    <a:lnTo>
                      <a:pt x="0" y="280"/>
                    </a:lnTo>
                    <a:lnTo>
                      <a:pt x="2" y="298"/>
                    </a:lnTo>
                    <a:lnTo>
                      <a:pt x="2" y="298"/>
                    </a:lnTo>
                    <a:lnTo>
                      <a:pt x="82" y="206"/>
                    </a:lnTo>
                    <a:lnTo>
                      <a:pt x="164" y="110"/>
                    </a:lnTo>
                    <a:lnTo>
                      <a:pt x="256" y="0"/>
                    </a:lnTo>
                    <a:lnTo>
                      <a:pt x="256" y="0"/>
                    </a:lnTo>
                    <a:lnTo>
                      <a:pt x="156" y="100"/>
                    </a:lnTo>
                    <a:lnTo>
                      <a:pt x="72" y="184"/>
                    </a:lnTo>
                    <a:lnTo>
                      <a:pt x="2" y="258"/>
                    </a:lnTo>
                    <a:lnTo>
                      <a:pt x="2" y="258"/>
                    </a:lnTo>
                    <a:lnTo>
                      <a:pt x="2" y="258"/>
                    </a:lnTo>
                    <a:lnTo>
                      <a:pt x="0" y="262"/>
                    </a:lnTo>
                    <a:close/>
                    <a:moveTo>
                      <a:pt x="244" y="422"/>
                    </a:moveTo>
                    <a:lnTo>
                      <a:pt x="244" y="422"/>
                    </a:lnTo>
                    <a:lnTo>
                      <a:pt x="258" y="416"/>
                    </a:lnTo>
                    <a:lnTo>
                      <a:pt x="274" y="408"/>
                    </a:lnTo>
                    <a:lnTo>
                      <a:pt x="286" y="400"/>
                    </a:lnTo>
                    <a:lnTo>
                      <a:pt x="300" y="390"/>
                    </a:lnTo>
                    <a:lnTo>
                      <a:pt x="300" y="390"/>
                    </a:lnTo>
                    <a:lnTo>
                      <a:pt x="296" y="404"/>
                    </a:lnTo>
                    <a:lnTo>
                      <a:pt x="294" y="418"/>
                    </a:lnTo>
                    <a:lnTo>
                      <a:pt x="294" y="418"/>
                    </a:lnTo>
                    <a:lnTo>
                      <a:pt x="508" y="180"/>
                    </a:lnTo>
                    <a:lnTo>
                      <a:pt x="508" y="180"/>
                    </a:lnTo>
                    <a:lnTo>
                      <a:pt x="414" y="266"/>
                    </a:lnTo>
                    <a:lnTo>
                      <a:pt x="328" y="344"/>
                    </a:lnTo>
                    <a:lnTo>
                      <a:pt x="244" y="422"/>
                    </a:ln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AU"/>
              </a:p>
            </p:txBody>
          </p:sp>
          <p:sp>
            <p:nvSpPr>
              <p:cNvPr id="124" name="íŝlïḓè"/>
              <p:cNvSpPr/>
              <p:nvPr/>
            </p:nvSpPr>
            <p:spPr bwMode="auto">
              <a:xfrm>
                <a:off x="11155409" y="1019828"/>
                <a:ext cx="257480" cy="257480"/>
              </a:xfrm>
              <a:custGeom>
                <a:avLst/>
                <a:gdLst>
                  <a:gd name="T0" fmla="*/ 94 w 116"/>
                  <a:gd name="T1" fmla="*/ 14 h 116"/>
                  <a:gd name="T2" fmla="*/ 94 w 116"/>
                  <a:gd name="T3" fmla="*/ 14 h 116"/>
                  <a:gd name="T4" fmla="*/ 102 w 116"/>
                  <a:gd name="T5" fmla="*/ 22 h 116"/>
                  <a:gd name="T6" fmla="*/ 110 w 116"/>
                  <a:gd name="T7" fmla="*/ 32 h 116"/>
                  <a:gd name="T8" fmla="*/ 114 w 116"/>
                  <a:gd name="T9" fmla="*/ 42 h 116"/>
                  <a:gd name="T10" fmla="*/ 116 w 116"/>
                  <a:gd name="T11" fmla="*/ 52 h 116"/>
                  <a:gd name="T12" fmla="*/ 116 w 116"/>
                  <a:gd name="T13" fmla="*/ 64 h 116"/>
                  <a:gd name="T14" fmla="*/ 114 w 116"/>
                  <a:gd name="T15" fmla="*/ 76 h 116"/>
                  <a:gd name="T16" fmla="*/ 110 w 116"/>
                  <a:gd name="T17" fmla="*/ 86 h 116"/>
                  <a:gd name="T18" fmla="*/ 102 w 116"/>
                  <a:gd name="T19" fmla="*/ 96 h 116"/>
                  <a:gd name="T20" fmla="*/ 102 w 116"/>
                  <a:gd name="T21" fmla="*/ 96 h 116"/>
                  <a:gd name="T22" fmla="*/ 94 w 116"/>
                  <a:gd name="T23" fmla="*/ 104 h 116"/>
                  <a:gd name="T24" fmla="*/ 84 w 116"/>
                  <a:gd name="T25" fmla="*/ 110 h 116"/>
                  <a:gd name="T26" fmla="*/ 74 w 116"/>
                  <a:gd name="T27" fmla="*/ 114 h 116"/>
                  <a:gd name="T28" fmla="*/ 64 w 116"/>
                  <a:gd name="T29" fmla="*/ 116 h 116"/>
                  <a:gd name="T30" fmla="*/ 52 w 116"/>
                  <a:gd name="T31" fmla="*/ 116 h 116"/>
                  <a:gd name="T32" fmla="*/ 40 w 116"/>
                  <a:gd name="T33" fmla="*/ 114 h 116"/>
                  <a:gd name="T34" fmla="*/ 30 w 116"/>
                  <a:gd name="T35" fmla="*/ 110 h 116"/>
                  <a:gd name="T36" fmla="*/ 20 w 116"/>
                  <a:gd name="T37" fmla="*/ 104 h 116"/>
                  <a:gd name="T38" fmla="*/ 20 w 116"/>
                  <a:gd name="T39" fmla="*/ 104 h 116"/>
                  <a:gd name="T40" fmla="*/ 12 w 116"/>
                  <a:gd name="T41" fmla="*/ 96 h 116"/>
                  <a:gd name="T42" fmla="*/ 6 w 116"/>
                  <a:gd name="T43" fmla="*/ 86 h 116"/>
                  <a:gd name="T44" fmla="*/ 2 w 116"/>
                  <a:gd name="T45" fmla="*/ 76 h 116"/>
                  <a:gd name="T46" fmla="*/ 0 w 116"/>
                  <a:gd name="T47" fmla="*/ 64 h 116"/>
                  <a:gd name="T48" fmla="*/ 0 w 116"/>
                  <a:gd name="T49" fmla="*/ 54 h 116"/>
                  <a:gd name="T50" fmla="*/ 2 w 116"/>
                  <a:gd name="T51" fmla="*/ 42 h 116"/>
                  <a:gd name="T52" fmla="*/ 6 w 116"/>
                  <a:gd name="T53" fmla="*/ 32 h 116"/>
                  <a:gd name="T54" fmla="*/ 12 w 116"/>
                  <a:gd name="T55" fmla="*/ 22 h 116"/>
                  <a:gd name="T56" fmla="*/ 12 w 116"/>
                  <a:gd name="T57" fmla="*/ 22 h 116"/>
                  <a:gd name="T58" fmla="*/ 20 w 116"/>
                  <a:gd name="T59" fmla="*/ 14 h 116"/>
                  <a:gd name="T60" fmla="*/ 30 w 116"/>
                  <a:gd name="T61" fmla="*/ 6 h 116"/>
                  <a:gd name="T62" fmla="*/ 40 w 116"/>
                  <a:gd name="T63" fmla="*/ 2 h 116"/>
                  <a:gd name="T64" fmla="*/ 52 w 116"/>
                  <a:gd name="T65" fmla="*/ 0 h 116"/>
                  <a:gd name="T66" fmla="*/ 62 w 116"/>
                  <a:gd name="T67" fmla="*/ 0 h 116"/>
                  <a:gd name="T68" fmla="*/ 74 w 116"/>
                  <a:gd name="T69" fmla="*/ 2 h 116"/>
                  <a:gd name="T70" fmla="*/ 84 w 116"/>
                  <a:gd name="T71" fmla="*/ 6 h 116"/>
                  <a:gd name="T72" fmla="*/ 94 w 116"/>
                  <a:gd name="T73" fmla="*/ 1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94" y="14"/>
                    </a:moveTo>
                    <a:lnTo>
                      <a:pt x="94" y="14"/>
                    </a:lnTo>
                    <a:lnTo>
                      <a:pt x="102" y="22"/>
                    </a:lnTo>
                    <a:lnTo>
                      <a:pt x="110" y="32"/>
                    </a:lnTo>
                    <a:lnTo>
                      <a:pt x="114" y="42"/>
                    </a:lnTo>
                    <a:lnTo>
                      <a:pt x="116" y="52"/>
                    </a:lnTo>
                    <a:lnTo>
                      <a:pt x="116" y="64"/>
                    </a:lnTo>
                    <a:lnTo>
                      <a:pt x="114" y="76"/>
                    </a:lnTo>
                    <a:lnTo>
                      <a:pt x="110" y="86"/>
                    </a:lnTo>
                    <a:lnTo>
                      <a:pt x="102" y="96"/>
                    </a:lnTo>
                    <a:lnTo>
                      <a:pt x="102" y="96"/>
                    </a:lnTo>
                    <a:lnTo>
                      <a:pt x="94" y="104"/>
                    </a:lnTo>
                    <a:lnTo>
                      <a:pt x="84" y="110"/>
                    </a:lnTo>
                    <a:lnTo>
                      <a:pt x="74" y="114"/>
                    </a:lnTo>
                    <a:lnTo>
                      <a:pt x="64" y="116"/>
                    </a:lnTo>
                    <a:lnTo>
                      <a:pt x="52" y="116"/>
                    </a:lnTo>
                    <a:lnTo>
                      <a:pt x="40" y="114"/>
                    </a:lnTo>
                    <a:lnTo>
                      <a:pt x="30" y="110"/>
                    </a:lnTo>
                    <a:lnTo>
                      <a:pt x="20" y="104"/>
                    </a:lnTo>
                    <a:lnTo>
                      <a:pt x="20" y="104"/>
                    </a:lnTo>
                    <a:lnTo>
                      <a:pt x="12" y="96"/>
                    </a:lnTo>
                    <a:lnTo>
                      <a:pt x="6" y="86"/>
                    </a:lnTo>
                    <a:lnTo>
                      <a:pt x="2" y="76"/>
                    </a:lnTo>
                    <a:lnTo>
                      <a:pt x="0" y="64"/>
                    </a:lnTo>
                    <a:lnTo>
                      <a:pt x="0" y="54"/>
                    </a:lnTo>
                    <a:lnTo>
                      <a:pt x="2" y="42"/>
                    </a:lnTo>
                    <a:lnTo>
                      <a:pt x="6" y="32"/>
                    </a:lnTo>
                    <a:lnTo>
                      <a:pt x="12" y="22"/>
                    </a:lnTo>
                    <a:lnTo>
                      <a:pt x="12" y="22"/>
                    </a:lnTo>
                    <a:lnTo>
                      <a:pt x="20" y="14"/>
                    </a:lnTo>
                    <a:lnTo>
                      <a:pt x="30" y="6"/>
                    </a:lnTo>
                    <a:lnTo>
                      <a:pt x="40" y="2"/>
                    </a:lnTo>
                    <a:lnTo>
                      <a:pt x="52" y="0"/>
                    </a:lnTo>
                    <a:lnTo>
                      <a:pt x="62" y="0"/>
                    </a:lnTo>
                    <a:lnTo>
                      <a:pt x="74" y="2"/>
                    </a:lnTo>
                    <a:lnTo>
                      <a:pt x="84" y="6"/>
                    </a:lnTo>
                    <a:lnTo>
                      <a:pt x="94" y="14"/>
                    </a:lnTo>
                    <a:close/>
                  </a:path>
                </a:pathLst>
              </a:custGeom>
              <a:solidFill>
                <a:schemeClr val="tx1">
                  <a:lumMod val="50000"/>
                  <a:lumOff val="50000"/>
                </a:schemeClr>
              </a:solidFill>
              <a:ln w="25400">
                <a:noFill/>
              </a:ln>
            </p:spPr>
            <p:txBody>
              <a:bodyPr vert="horz" wrap="square" lIns="91440" tIns="45720" rIns="91440" bIns="45720" numCol="1" anchor="t" anchorCtr="0" compatLnSpc="1">
                <a:normAutofit fontScale="55000" lnSpcReduction="20000"/>
              </a:bodyPr>
              <a:lstStyle/>
              <a:p>
                <a:endParaRPr lang="en-AU"/>
              </a:p>
            </p:txBody>
          </p:sp>
          <p:sp>
            <p:nvSpPr>
              <p:cNvPr id="125" name="iş1ïdé"/>
              <p:cNvSpPr/>
              <p:nvPr/>
            </p:nvSpPr>
            <p:spPr bwMode="auto">
              <a:xfrm>
                <a:off x="9243502" y="1408491"/>
                <a:ext cx="548724" cy="510736"/>
              </a:xfrm>
              <a:custGeom>
                <a:avLst/>
                <a:gdLst>
                  <a:gd name="T0" fmla="*/ 40 w 520"/>
                  <a:gd name="T1" fmla="*/ 480 h 484"/>
                  <a:gd name="T2" fmla="*/ 520 w 520"/>
                  <a:gd name="T3" fmla="*/ 0 h 484"/>
                  <a:gd name="T4" fmla="*/ 0 w 520"/>
                  <a:gd name="T5" fmla="*/ 484 h 484"/>
                  <a:gd name="T6" fmla="*/ 40 w 520"/>
                  <a:gd name="T7" fmla="*/ 480 h 484"/>
                </a:gdLst>
                <a:ahLst/>
                <a:cxnLst>
                  <a:cxn ang="0">
                    <a:pos x="T0" y="T1"/>
                  </a:cxn>
                  <a:cxn ang="0">
                    <a:pos x="T2" y="T3"/>
                  </a:cxn>
                  <a:cxn ang="0">
                    <a:pos x="T4" y="T5"/>
                  </a:cxn>
                  <a:cxn ang="0">
                    <a:pos x="T6" y="T7"/>
                  </a:cxn>
                </a:cxnLst>
                <a:rect l="0" t="0" r="r" b="b"/>
                <a:pathLst>
                  <a:path w="520" h="484">
                    <a:moveTo>
                      <a:pt x="40" y="480"/>
                    </a:moveTo>
                    <a:lnTo>
                      <a:pt x="520" y="0"/>
                    </a:lnTo>
                    <a:lnTo>
                      <a:pt x="0" y="484"/>
                    </a:lnTo>
                    <a:lnTo>
                      <a:pt x="40" y="480"/>
                    </a:ln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AU"/>
              </a:p>
            </p:txBody>
          </p:sp>
        </p:grpSp>
        <p:sp>
          <p:nvSpPr>
            <p:cNvPr id="91" name="íŝ1ïḋe"/>
            <p:cNvSpPr txBox="1"/>
            <p:nvPr/>
          </p:nvSpPr>
          <p:spPr>
            <a:xfrm>
              <a:off x="673100" y="1130300"/>
              <a:ext cx="5771983" cy="581926"/>
            </a:xfrm>
            <a:prstGeom prst="rect">
              <a:avLst/>
            </a:prstGeom>
            <a:noFill/>
            <a:ln>
              <a:noFill/>
            </a:ln>
          </p:spPr>
          <p:txBody>
            <a:bodyPr wrap="square" lIns="91440" tIns="45720" rIns="91440" bIns="45720" anchor="ctr" anchorCtr="0">
              <a:normAutofit/>
            </a:bodyPr>
            <a:lstStyle/>
            <a:p>
              <a:pPr>
                <a:buSzPct val="25000"/>
              </a:pPr>
              <a:endParaRPr lang="en-US" sz="2400" dirty="0">
                <a:solidFill>
                  <a:srgbClr val="3A3838"/>
                </a:solidFill>
              </a:endParaRPr>
            </a:p>
          </p:txBody>
        </p:sp>
        <p:sp>
          <p:nvSpPr>
            <p:cNvPr id="74" name="íSļîḓè"/>
            <p:cNvSpPr/>
            <p:nvPr/>
          </p:nvSpPr>
          <p:spPr>
            <a:xfrm>
              <a:off x="755059" y="1993000"/>
              <a:ext cx="717384" cy="7173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b="1" dirty="0"/>
            </a:p>
          </p:txBody>
        </p:sp>
        <p:sp>
          <p:nvSpPr>
            <p:cNvPr id="75" name="ïsḷiḍè"/>
            <p:cNvSpPr/>
            <p:nvPr/>
          </p:nvSpPr>
          <p:spPr bwMode="auto">
            <a:xfrm>
              <a:off x="917525" y="2162977"/>
              <a:ext cx="392452" cy="377430"/>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bg1"/>
            </a:solidFill>
            <a:ln>
              <a:noFill/>
            </a:ln>
          </p:spPr>
          <p:txBody>
            <a:bodyPr/>
            <a:lstStyle/>
            <a:p>
              <a:endParaRPr lang="zh-CN" altLang="en-US"/>
            </a:p>
          </p:txBody>
        </p:sp>
        <p:grpSp>
          <p:nvGrpSpPr>
            <p:cNvPr id="76" name="íṡ1iḑe"/>
            <p:cNvGrpSpPr/>
            <p:nvPr/>
          </p:nvGrpSpPr>
          <p:grpSpPr>
            <a:xfrm>
              <a:off x="1634908" y="1964094"/>
              <a:ext cx="4893719" cy="1042927"/>
              <a:chOff x="5165511" y="1836523"/>
              <a:chExt cx="3658759" cy="1042927"/>
            </a:xfrm>
          </p:grpSpPr>
          <p:sp>
            <p:nvSpPr>
              <p:cNvPr id="89" name="iŝľiďé"/>
              <p:cNvSpPr/>
              <p:nvPr/>
            </p:nvSpPr>
            <p:spPr bwMode="auto">
              <a:xfrm>
                <a:off x="5165511" y="2314853"/>
                <a:ext cx="3631007" cy="564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1400" dirty="0"/>
                  <a:t>由政府、人民银行、金融机构和贷款企业共同组成的融资平台，专项支持工业企业技术改造融资的一种合作方式。</a:t>
                </a:r>
                <a:endParaRPr lang="zh-CN" altLang="en-US" sz="1400" dirty="0"/>
              </a:p>
            </p:txBody>
          </p:sp>
          <p:sp>
            <p:nvSpPr>
              <p:cNvPr id="90" name="ïṣlíďê"/>
              <p:cNvSpPr txBox="1"/>
              <p:nvPr/>
            </p:nvSpPr>
            <p:spPr bwMode="auto">
              <a:xfrm>
                <a:off x="5192075" y="1836523"/>
                <a:ext cx="3632195"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b="1" dirty="0">
                    <a:latin typeface="+mn-ea"/>
                  </a:rPr>
                  <a:t>01</a:t>
                </a:r>
                <a:r>
                  <a:rPr lang="en-US" altLang="zh-CN" sz="100" b="1" dirty="0">
                    <a:latin typeface="+mn-ea"/>
                  </a:rPr>
                  <a:t> </a:t>
                </a:r>
                <a:r>
                  <a:rPr lang="en-US" altLang="zh-CN" b="1" dirty="0">
                    <a:latin typeface="+mn-ea"/>
                  </a:rPr>
                  <a:t>.</a:t>
                </a:r>
                <a:r>
                  <a:rPr lang="zh-CN" altLang="en-US" b="1" dirty="0">
                    <a:latin typeface="+mn-ea"/>
                  </a:rPr>
                  <a:t>业务简介</a:t>
                </a:r>
                <a:endParaRPr lang="en-US" altLang="zh-CN" b="1" dirty="0">
                  <a:latin typeface="+mn-ea"/>
                </a:endParaRPr>
              </a:p>
            </p:txBody>
          </p:sp>
        </p:grpSp>
        <p:sp>
          <p:nvSpPr>
            <p:cNvPr id="77" name="îśľïḍe"/>
            <p:cNvSpPr/>
            <p:nvPr/>
          </p:nvSpPr>
          <p:spPr>
            <a:xfrm>
              <a:off x="755059" y="3427508"/>
              <a:ext cx="717384" cy="717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b="1" dirty="0"/>
            </a:p>
          </p:txBody>
        </p:sp>
        <p:sp>
          <p:nvSpPr>
            <p:cNvPr id="78" name="ïŝḻiḓè"/>
            <p:cNvSpPr/>
            <p:nvPr/>
          </p:nvSpPr>
          <p:spPr bwMode="auto">
            <a:xfrm>
              <a:off x="910968" y="3591118"/>
              <a:ext cx="405566" cy="390164"/>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bg1"/>
            </a:solidFill>
            <a:ln>
              <a:noFill/>
            </a:ln>
          </p:spPr>
          <p:txBody>
            <a:bodyPr/>
            <a:lstStyle/>
            <a:p>
              <a:endParaRPr lang="zh-CN" altLang="en-US"/>
            </a:p>
          </p:txBody>
        </p:sp>
        <p:grpSp>
          <p:nvGrpSpPr>
            <p:cNvPr id="79" name="îSḷïḋé"/>
            <p:cNvGrpSpPr/>
            <p:nvPr/>
          </p:nvGrpSpPr>
          <p:grpSpPr>
            <a:xfrm>
              <a:off x="1634908" y="3460359"/>
              <a:ext cx="4899561" cy="1368660"/>
              <a:chOff x="5165510" y="2203593"/>
              <a:chExt cx="3663126" cy="1368660"/>
            </a:xfrm>
          </p:grpSpPr>
          <p:sp>
            <p:nvSpPr>
              <p:cNvPr id="87" name="ïŝlïḋé"/>
              <p:cNvSpPr/>
              <p:nvPr/>
            </p:nvSpPr>
            <p:spPr bwMode="auto">
              <a:xfrm>
                <a:off x="5165510" y="2668177"/>
                <a:ext cx="3285397" cy="904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1400" dirty="0"/>
                  <a:t>设备投入、生产线改造、技术更新、扩建装修厂房、增资扩产、新技术新工艺推广应用、节能技改、搬迁技改、两化融合等。</a:t>
                </a:r>
                <a:endParaRPr lang="zh-CN" altLang="en-US" sz="1400" dirty="0"/>
              </a:p>
            </p:txBody>
          </p:sp>
          <p:sp>
            <p:nvSpPr>
              <p:cNvPr id="88" name="ïślîḓé"/>
              <p:cNvSpPr txBox="1"/>
              <p:nvPr/>
            </p:nvSpPr>
            <p:spPr bwMode="auto">
              <a:xfrm>
                <a:off x="5196441" y="2203593"/>
                <a:ext cx="3632195"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b="1" dirty="0">
                    <a:latin typeface="+mn-ea"/>
                  </a:rPr>
                  <a:t>02.</a:t>
                </a:r>
                <a:r>
                  <a:rPr lang="zh-CN" altLang="en-US" b="1" dirty="0">
                    <a:latin typeface="+mn-ea"/>
                  </a:rPr>
                  <a:t>支持范围</a:t>
                </a:r>
                <a:endParaRPr lang="en-US" altLang="zh-CN" b="1" dirty="0">
                  <a:latin typeface="+mn-ea"/>
                </a:endParaRPr>
              </a:p>
            </p:txBody>
          </p:sp>
        </p:grpSp>
        <p:sp>
          <p:nvSpPr>
            <p:cNvPr id="80" name="îsľíḓê"/>
            <p:cNvSpPr/>
            <p:nvPr/>
          </p:nvSpPr>
          <p:spPr>
            <a:xfrm>
              <a:off x="755059" y="5193497"/>
              <a:ext cx="717384" cy="717384"/>
            </a:xfrm>
            <a:prstGeom prst="ellipse">
              <a:avLst/>
            </a:prstGeom>
            <a:solidFill>
              <a:srgbClr val="E43F3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b="1" dirty="0"/>
            </a:p>
          </p:txBody>
        </p:sp>
        <p:sp>
          <p:nvSpPr>
            <p:cNvPr id="81" name="ï$1ïďè"/>
            <p:cNvSpPr/>
            <p:nvPr/>
          </p:nvSpPr>
          <p:spPr bwMode="auto">
            <a:xfrm>
              <a:off x="913498" y="5352311"/>
              <a:ext cx="400506" cy="399756"/>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bg1"/>
            </a:solidFill>
            <a:ln>
              <a:noFill/>
            </a:ln>
          </p:spPr>
          <p:txBody>
            <a:bodyPr wrap="square" lIns="91440" tIns="45720" rIns="91440" bIns="45720">
              <a:normAutofit/>
            </a:bodyPr>
            <a:lstStyle/>
            <a:p>
              <a:endParaRPr lang="zh-CN" altLang="en-US"/>
            </a:p>
          </p:txBody>
        </p:sp>
        <p:grpSp>
          <p:nvGrpSpPr>
            <p:cNvPr id="82" name="íŝļíḍe"/>
            <p:cNvGrpSpPr/>
            <p:nvPr/>
          </p:nvGrpSpPr>
          <p:grpSpPr>
            <a:xfrm>
              <a:off x="1670439" y="5164591"/>
              <a:ext cx="4897464" cy="1115025"/>
              <a:chOff x="5192076" y="2778631"/>
              <a:chExt cx="3661559" cy="1115025"/>
            </a:xfrm>
          </p:grpSpPr>
          <p:sp>
            <p:nvSpPr>
              <p:cNvPr id="85" name="ïSḷîḋê"/>
              <p:cNvSpPr/>
              <p:nvPr/>
            </p:nvSpPr>
            <p:spPr bwMode="auto">
              <a:xfrm>
                <a:off x="5221440" y="3239853"/>
                <a:ext cx="3632195" cy="653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a:buFont typeface="Wingdings" panose="05000000000000000000" pitchFamily="2" charset="2"/>
                  <a:buChar char="ü"/>
                </a:pPr>
                <a:r>
                  <a:rPr lang="zh-CN" altLang="en-US" sz="1400" dirty="0">
                    <a:latin typeface="微软雅黑" panose="020B0503020204020204" pitchFamily="34" charset="-122"/>
                    <a:ea typeface="微软雅黑" panose="020B0503020204020204" pitchFamily="34" charset="-122"/>
                  </a:rPr>
                  <a:t>我市中小微企业</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r>
                  <a:rPr lang="zh-CN" altLang="en-US" sz="1400" dirty="0">
                    <a:latin typeface="微软雅黑" panose="020B0503020204020204" pitchFamily="34" charset="-122"/>
                    <a:ea typeface="微软雅黑" panose="020B0503020204020204" pitchFamily="34" charset="-122"/>
                  </a:rPr>
                  <a:t>实施技改项目、完成技术改造投资项目备案的工业企业</a:t>
                </a:r>
                <a:endParaRPr lang="zh-CN" altLang="en-US" sz="1400" dirty="0">
                  <a:latin typeface="微软雅黑" panose="020B0503020204020204" pitchFamily="34" charset="-122"/>
                  <a:ea typeface="微软雅黑" panose="020B0503020204020204" pitchFamily="34" charset="-122"/>
                </a:endParaRPr>
              </a:p>
            </p:txBody>
          </p:sp>
          <p:sp>
            <p:nvSpPr>
              <p:cNvPr id="86" name="îşḻiḋè"/>
              <p:cNvSpPr txBox="1"/>
              <p:nvPr/>
            </p:nvSpPr>
            <p:spPr bwMode="auto">
              <a:xfrm>
                <a:off x="5192076" y="2778631"/>
                <a:ext cx="3632195"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b="1" dirty="0">
                    <a:latin typeface="+mn-ea"/>
                  </a:rPr>
                  <a:t>03.</a:t>
                </a:r>
                <a:r>
                  <a:rPr lang="zh-CN" altLang="en-US" b="1" dirty="0">
                    <a:latin typeface="+mn-ea"/>
                  </a:rPr>
                  <a:t>适用对象</a:t>
                </a:r>
                <a:endParaRPr lang="zh-CN" altLang="en-US" b="1" dirty="0">
                  <a:latin typeface="+mn-ea"/>
                </a:endParaRPr>
              </a:p>
            </p:txBody>
          </p:sp>
        </p:grpSp>
        <p:cxnSp>
          <p:nvCxnSpPr>
            <p:cNvPr id="83" name="直接连接符 82"/>
            <p:cNvCxnSpPr/>
            <p:nvPr/>
          </p:nvCxnSpPr>
          <p:spPr>
            <a:xfrm>
              <a:off x="1709715" y="3124786"/>
              <a:ext cx="460103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flipV="1">
              <a:off x="1666623" y="4855122"/>
              <a:ext cx="4545611" cy="2141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9" name="ïṥľïḑè"/>
          <p:cNvSpPr/>
          <p:nvPr/>
        </p:nvSpPr>
        <p:spPr bwMode="auto">
          <a:xfrm>
            <a:off x="9386490" y="3721044"/>
            <a:ext cx="2181673" cy="2178775"/>
          </a:xfrm>
          <a:custGeom>
            <a:avLst/>
            <a:gdLst>
              <a:gd name="T0" fmla="*/ 385 w 682"/>
              <a:gd name="T1" fmla="*/ 638 h 680"/>
              <a:gd name="T2" fmla="*/ 425 w 682"/>
              <a:gd name="T3" fmla="*/ 634 h 680"/>
              <a:gd name="T4" fmla="*/ 489 w 682"/>
              <a:gd name="T5" fmla="*/ 641 h 680"/>
              <a:gd name="T6" fmla="*/ 512 w 682"/>
              <a:gd name="T7" fmla="*/ 589 h 680"/>
              <a:gd name="T8" fmla="*/ 569 w 682"/>
              <a:gd name="T9" fmla="*/ 586 h 680"/>
              <a:gd name="T10" fmla="*/ 586 w 682"/>
              <a:gd name="T11" fmla="*/ 524 h 680"/>
              <a:gd name="T12" fmla="*/ 604 w 682"/>
              <a:gd name="T13" fmla="*/ 488 h 680"/>
              <a:gd name="T14" fmla="*/ 659 w 682"/>
              <a:gd name="T15" fmla="*/ 461 h 680"/>
              <a:gd name="T16" fmla="*/ 640 w 682"/>
              <a:gd name="T17" fmla="*/ 408 h 680"/>
              <a:gd name="T18" fmla="*/ 643 w 682"/>
              <a:gd name="T19" fmla="*/ 360 h 680"/>
              <a:gd name="T20" fmla="*/ 681 w 682"/>
              <a:gd name="T21" fmla="*/ 312 h 680"/>
              <a:gd name="T22" fmla="*/ 634 w 682"/>
              <a:gd name="T23" fmla="*/ 263 h 680"/>
              <a:gd name="T24" fmla="*/ 629 w 682"/>
              <a:gd name="T25" fmla="*/ 219 h 680"/>
              <a:gd name="T26" fmla="*/ 609 w 682"/>
              <a:gd name="T27" fmla="*/ 160 h 680"/>
              <a:gd name="T28" fmla="*/ 564 w 682"/>
              <a:gd name="T29" fmla="*/ 134 h 680"/>
              <a:gd name="T30" fmla="*/ 559 w 682"/>
              <a:gd name="T31" fmla="*/ 76 h 680"/>
              <a:gd name="T32" fmla="*/ 499 w 682"/>
              <a:gd name="T33" fmla="*/ 75 h 680"/>
              <a:gd name="T34" fmla="*/ 455 w 682"/>
              <a:gd name="T35" fmla="*/ 57 h 680"/>
              <a:gd name="T36" fmla="*/ 412 w 682"/>
              <a:gd name="T37" fmla="*/ 5 h 680"/>
              <a:gd name="T38" fmla="*/ 360 w 682"/>
              <a:gd name="T39" fmla="*/ 36 h 680"/>
              <a:gd name="T40" fmla="*/ 304 w 682"/>
              <a:gd name="T41" fmla="*/ 8 h 680"/>
              <a:gd name="T42" fmla="*/ 257 w 682"/>
              <a:gd name="T43" fmla="*/ 17 h 680"/>
              <a:gd name="T44" fmla="*/ 224 w 682"/>
              <a:gd name="T45" fmla="*/ 58 h 680"/>
              <a:gd name="T46" fmla="*/ 168 w 682"/>
              <a:gd name="T47" fmla="*/ 49 h 680"/>
              <a:gd name="T48" fmla="*/ 136 w 682"/>
              <a:gd name="T49" fmla="*/ 114 h 680"/>
              <a:gd name="T50" fmla="*/ 109 w 682"/>
              <a:gd name="T51" fmla="*/ 143 h 680"/>
              <a:gd name="T52" fmla="*/ 50 w 682"/>
              <a:gd name="T53" fmla="*/ 160 h 680"/>
              <a:gd name="T54" fmla="*/ 63 w 682"/>
              <a:gd name="T55" fmla="*/ 217 h 680"/>
              <a:gd name="T56" fmla="*/ 42 w 682"/>
              <a:gd name="T57" fmla="*/ 264 h 680"/>
              <a:gd name="T58" fmla="*/ 5 w 682"/>
              <a:gd name="T59" fmla="*/ 316 h 680"/>
              <a:gd name="T60" fmla="*/ 38 w 682"/>
              <a:gd name="T61" fmla="*/ 362 h 680"/>
              <a:gd name="T62" fmla="*/ 9 w 682"/>
              <a:gd name="T63" fmla="*/ 422 h 680"/>
              <a:gd name="T64" fmla="*/ 52 w 682"/>
              <a:gd name="T65" fmla="*/ 458 h 680"/>
              <a:gd name="T66" fmla="*/ 79 w 682"/>
              <a:gd name="T67" fmla="*/ 492 h 680"/>
              <a:gd name="T68" fmla="*/ 81 w 682"/>
              <a:gd name="T69" fmla="*/ 560 h 680"/>
              <a:gd name="T70" fmla="*/ 141 w 682"/>
              <a:gd name="T71" fmla="*/ 567 h 680"/>
              <a:gd name="T72" fmla="*/ 176 w 682"/>
              <a:gd name="T73" fmla="*/ 616 h 680"/>
              <a:gd name="T74" fmla="*/ 219 w 682"/>
              <a:gd name="T75" fmla="*/ 648 h 680"/>
              <a:gd name="T76" fmla="*/ 273 w 682"/>
              <a:gd name="T77" fmla="*/ 634 h 680"/>
              <a:gd name="T78" fmla="*/ 310 w 682"/>
              <a:gd name="T79" fmla="*/ 674 h 680"/>
              <a:gd name="T80" fmla="*/ 297 w 682"/>
              <a:gd name="T81" fmla="*/ 588 h 680"/>
              <a:gd name="T82" fmla="*/ 231 w 682"/>
              <a:gd name="T83" fmla="*/ 567 h 680"/>
              <a:gd name="T84" fmla="*/ 182 w 682"/>
              <a:gd name="T85" fmla="*/ 537 h 680"/>
              <a:gd name="T86" fmla="*/ 117 w 682"/>
              <a:gd name="T87" fmla="*/ 459 h 680"/>
              <a:gd name="T88" fmla="*/ 89 w 682"/>
              <a:gd name="T89" fmla="*/ 375 h 680"/>
              <a:gd name="T90" fmla="*/ 101 w 682"/>
              <a:gd name="T91" fmla="*/ 255 h 680"/>
              <a:gd name="T92" fmla="*/ 145 w 682"/>
              <a:gd name="T93" fmla="*/ 176 h 680"/>
              <a:gd name="T94" fmla="*/ 239 w 682"/>
              <a:gd name="T95" fmla="*/ 106 h 680"/>
              <a:gd name="T96" fmla="*/ 338 w 682"/>
              <a:gd name="T97" fmla="*/ 85 h 680"/>
              <a:gd name="T98" fmla="*/ 435 w 682"/>
              <a:gd name="T99" fmla="*/ 103 h 680"/>
              <a:gd name="T100" fmla="*/ 517 w 682"/>
              <a:gd name="T101" fmla="*/ 156 h 680"/>
              <a:gd name="T102" fmla="*/ 544 w 682"/>
              <a:gd name="T103" fmla="*/ 187 h 680"/>
              <a:gd name="T104" fmla="*/ 587 w 682"/>
              <a:gd name="T105" fmla="*/ 276 h 680"/>
              <a:gd name="T106" fmla="*/ 592 w 682"/>
              <a:gd name="T107" fmla="*/ 373 h 680"/>
              <a:gd name="T108" fmla="*/ 557 w 682"/>
              <a:gd name="T109" fmla="*/ 471 h 680"/>
              <a:gd name="T110" fmla="*/ 488 w 682"/>
              <a:gd name="T111" fmla="*/ 545 h 680"/>
              <a:gd name="T112" fmla="*/ 403 w 682"/>
              <a:gd name="T113" fmla="*/ 585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2" h="680">
                <a:moveTo>
                  <a:pt x="345" y="680"/>
                </a:moveTo>
                <a:cubicBezTo>
                  <a:pt x="348" y="680"/>
                  <a:pt x="352" y="678"/>
                  <a:pt x="353" y="675"/>
                </a:cubicBezTo>
                <a:cubicBezTo>
                  <a:pt x="353" y="675"/>
                  <a:pt x="354" y="673"/>
                  <a:pt x="355" y="670"/>
                </a:cubicBezTo>
                <a:cubicBezTo>
                  <a:pt x="357" y="668"/>
                  <a:pt x="359" y="664"/>
                  <a:pt x="360" y="660"/>
                </a:cubicBezTo>
                <a:cubicBezTo>
                  <a:pt x="364" y="653"/>
                  <a:pt x="367" y="645"/>
                  <a:pt x="367" y="645"/>
                </a:cubicBezTo>
                <a:cubicBezTo>
                  <a:pt x="368" y="642"/>
                  <a:pt x="371" y="640"/>
                  <a:pt x="374" y="640"/>
                </a:cubicBezTo>
                <a:cubicBezTo>
                  <a:pt x="374" y="640"/>
                  <a:pt x="379" y="639"/>
                  <a:pt x="385" y="638"/>
                </a:cubicBezTo>
                <a:cubicBezTo>
                  <a:pt x="388" y="638"/>
                  <a:pt x="390" y="638"/>
                  <a:pt x="392" y="637"/>
                </a:cubicBezTo>
                <a:cubicBezTo>
                  <a:pt x="394" y="637"/>
                  <a:pt x="395" y="637"/>
                  <a:pt x="395" y="637"/>
                </a:cubicBezTo>
                <a:cubicBezTo>
                  <a:pt x="395" y="637"/>
                  <a:pt x="397" y="636"/>
                  <a:pt x="399" y="636"/>
                </a:cubicBezTo>
                <a:cubicBezTo>
                  <a:pt x="401" y="636"/>
                  <a:pt x="403" y="635"/>
                  <a:pt x="406" y="635"/>
                </a:cubicBezTo>
                <a:cubicBezTo>
                  <a:pt x="409" y="634"/>
                  <a:pt x="411" y="633"/>
                  <a:pt x="413" y="633"/>
                </a:cubicBezTo>
                <a:cubicBezTo>
                  <a:pt x="415" y="632"/>
                  <a:pt x="417" y="632"/>
                  <a:pt x="417" y="632"/>
                </a:cubicBezTo>
                <a:cubicBezTo>
                  <a:pt x="420" y="631"/>
                  <a:pt x="423" y="632"/>
                  <a:pt x="425" y="634"/>
                </a:cubicBezTo>
                <a:cubicBezTo>
                  <a:pt x="425" y="634"/>
                  <a:pt x="431" y="640"/>
                  <a:pt x="437" y="646"/>
                </a:cubicBezTo>
                <a:cubicBezTo>
                  <a:pt x="443" y="652"/>
                  <a:pt x="449" y="657"/>
                  <a:pt x="449" y="657"/>
                </a:cubicBezTo>
                <a:cubicBezTo>
                  <a:pt x="451" y="659"/>
                  <a:pt x="455" y="660"/>
                  <a:pt x="458" y="659"/>
                </a:cubicBezTo>
                <a:cubicBezTo>
                  <a:pt x="458" y="659"/>
                  <a:pt x="465" y="656"/>
                  <a:pt x="471" y="654"/>
                </a:cubicBezTo>
                <a:cubicBezTo>
                  <a:pt x="474" y="653"/>
                  <a:pt x="477" y="651"/>
                  <a:pt x="479" y="650"/>
                </a:cubicBezTo>
                <a:cubicBezTo>
                  <a:pt x="482" y="649"/>
                  <a:pt x="483" y="649"/>
                  <a:pt x="483" y="649"/>
                </a:cubicBezTo>
                <a:cubicBezTo>
                  <a:pt x="486" y="647"/>
                  <a:pt x="489" y="644"/>
                  <a:pt x="489" y="641"/>
                </a:cubicBezTo>
                <a:cubicBezTo>
                  <a:pt x="489" y="641"/>
                  <a:pt x="489" y="632"/>
                  <a:pt x="489" y="624"/>
                </a:cubicBezTo>
                <a:cubicBezTo>
                  <a:pt x="490" y="620"/>
                  <a:pt x="490" y="616"/>
                  <a:pt x="490" y="613"/>
                </a:cubicBezTo>
                <a:cubicBezTo>
                  <a:pt x="489" y="610"/>
                  <a:pt x="489" y="608"/>
                  <a:pt x="489" y="608"/>
                </a:cubicBezTo>
                <a:cubicBezTo>
                  <a:pt x="489" y="605"/>
                  <a:pt x="491" y="602"/>
                  <a:pt x="494" y="600"/>
                </a:cubicBezTo>
                <a:cubicBezTo>
                  <a:pt x="494" y="600"/>
                  <a:pt x="495" y="599"/>
                  <a:pt x="497" y="598"/>
                </a:cubicBezTo>
                <a:cubicBezTo>
                  <a:pt x="498" y="597"/>
                  <a:pt x="501" y="596"/>
                  <a:pt x="503" y="594"/>
                </a:cubicBezTo>
                <a:cubicBezTo>
                  <a:pt x="508" y="591"/>
                  <a:pt x="512" y="589"/>
                  <a:pt x="512" y="589"/>
                </a:cubicBezTo>
                <a:cubicBezTo>
                  <a:pt x="512" y="589"/>
                  <a:pt x="516" y="585"/>
                  <a:pt x="521" y="582"/>
                </a:cubicBezTo>
                <a:cubicBezTo>
                  <a:pt x="523" y="581"/>
                  <a:pt x="525" y="579"/>
                  <a:pt x="527" y="578"/>
                </a:cubicBezTo>
                <a:cubicBezTo>
                  <a:pt x="528" y="576"/>
                  <a:pt x="529" y="576"/>
                  <a:pt x="529" y="576"/>
                </a:cubicBezTo>
                <a:cubicBezTo>
                  <a:pt x="532" y="574"/>
                  <a:pt x="535" y="573"/>
                  <a:pt x="538" y="574"/>
                </a:cubicBezTo>
                <a:cubicBezTo>
                  <a:pt x="538" y="574"/>
                  <a:pt x="540" y="575"/>
                  <a:pt x="543" y="576"/>
                </a:cubicBezTo>
                <a:cubicBezTo>
                  <a:pt x="546" y="577"/>
                  <a:pt x="550" y="579"/>
                  <a:pt x="553" y="580"/>
                </a:cubicBezTo>
                <a:cubicBezTo>
                  <a:pt x="561" y="583"/>
                  <a:pt x="569" y="586"/>
                  <a:pt x="569" y="586"/>
                </a:cubicBezTo>
                <a:cubicBezTo>
                  <a:pt x="572" y="587"/>
                  <a:pt x="576" y="586"/>
                  <a:pt x="578" y="583"/>
                </a:cubicBezTo>
                <a:cubicBezTo>
                  <a:pt x="578" y="583"/>
                  <a:pt x="580" y="582"/>
                  <a:pt x="581" y="580"/>
                </a:cubicBezTo>
                <a:cubicBezTo>
                  <a:pt x="583" y="578"/>
                  <a:pt x="586" y="576"/>
                  <a:pt x="588" y="574"/>
                </a:cubicBezTo>
                <a:cubicBezTo>
                  <a:pt x="592" y="569"/>
                  <a:pt x="597" y="564"/>
                  <a:pt x="597" y="564"/>
                </a:cubicBezTo>
                <a:cubicBezTo>
                  <a:pt x="599" y="561"/>
                  <a:pt x="600" y="557"/>
                  <a:pt x="599" y="554"/>
                </a:cubicBezTo>
                <a:cubicBezTo>
                  <a:pt x="599" y="554"/>
                  <a:pt x="596" y="547"/>
                  <a:pt x="593" y="539"/>
                </a:cubicBezTo>
                <a:cubicBezTo>
                  <a:pt x="590" y="531"/>
                  <a:pt x="586" y="524"/>
                  <a:pt x="586" y="524"/>
                </a:cubicBezTo>
                <a:cubicBezTo>
                  <a:pt x="585" y="521"/>
                  <a:pt x="585" y="518"/>
                  <a:pt x="587" y="515"/>
                </a:cubicBezTo>
                <a:cubicBezTo>
                  <a:pt x="587" y="515"/>
                  <a:pt x="588" y="514"/>
                  <a:pt x="589" y="512"/>
                </a:cubicBezTo>
                <a:cubicBezTo>
                  <a:pt x="590" y="511"/>
                  <a:pt x="592" y="508"/>
                  <a:pt x="593" y="506"/>
                </a:cubicBezTo>
                <a:cubicBezTo>
                  <a:pt x="595" y="504"/>
                  <a:pt x="596" y="502"/>
                  <a:pt x="597" y="500"/>
                </a:cubicBezTo>
                <a:cubicBezTo>
                  <a:pt x="598" y="498"/>
                  <a:pt x="599" y="497"/>
                  <a:pt x="599" y="497"/>
                </a:cubicBezTo>
                <a:cubicBezTo>
                  <a:pt x="599" y="497"/>
                  <a:pt x="600" y="496"/>
                  <a:pt x="601" y="494"/>
                </a:cubicBezTo>
                <a:cubicBezTo>
                  <a:pt x="602" y="493"/>
                  <a:pt x="603" y="490"/>
                  <a:pt x="604" y="488"/>
                </a:cubicBezTo>
                <a:cubicBezTo>
                  <a:pt x="607" y="483"/>
                  <a:pt x="610" y="478"/>
                  <a:pt x="610" y="478"/>
                </a:cubicBezTo>
                <a:cubicBezTo>
                  <a:pt x="611" y="476"/>
                  <a:pt x="614" y="474"/>
                  <a:pt x="617" y="474"/>
                </a:cubicBezTo>
                <a:cubicBezTo>
                  <a:pt x="617" y="474"/>
                  <a:pt x="625" y="473"/>
                  <a:pt x="634" y="473"/>
                </a:cubicBezTo>
                <a:cubicBezTo>
                  <a:pt x="638" y="473"/>
                  <a:pt x="642" y="472"/>
                  <a:pt x="645" y="472"/>
                </a:cubicBezTo>
                <a:cubicBezTo>
                  <a:pt x="648" y="472"/>
                  <a:pt x="650" y="471"/>
                  <a:pt x="650" y="471"/>
                </a:cubicBezTo>
                <a:cubicBezTo>
                  <a:pt x="653" y="471"/>
                  <a:pt x="656" y="469"/>
                  <a:pt x="657" y="465"/>
                </a:cubicBezTo>
                <a:cubicBezTo>
                  <a:pt x="657" y="465"/>
                  <a:pt x="658" y="464"/>
                  <a:pt x="659" y="461"/>
                </a:cubicBezTo>
                <a:cubicBezTo>
                  <a:pt x="660" y="459"/>
                  <a:pt x="661" y="456"/>
                  <a:pt x="662" y="453"/>
                </a:cubicBezTo>
                <a:cubicBezTo>
                  <a:pt x="663" y="450"/>
                  <a:pt x="664" y="446"/>
                  <a:pt x="665" y="444"/>
                </a:cubicBezTo>
                <a:cubicBezTo>
                  <a:pt x="666" y="442"/>
                  <a:pt x="666" y="440"/>
                  <a:pt x="666" y="440"/>
                </a:cubicBezTo>
                <a:cubicBezTo>
                  <a:pt x="667" y="436"/>
                  <a:pt x="667" y="433"/>
                  <a:pt x="664" y="430"/>
                </a:cubicBezTo>
                <a:cubicBezTo>
                  <a:pt x="664" y="430"/>
                  <a:pt x="659" y="425"/>
                  <a:pt x="653" y="419"/>
                </a:cubicBezTo>
                <a:cubicBezTo>
                  <a:pt x="650" y="416"/>
                  <a:pt x="647" y="413"/>
                  <a:pt x="644" y="411"/>
                </a:cubicBezTo>
                <a:cubicBezTo>
                  <a:pt x="642" y="409"/>
                  <a:pt x="640" y="408"/>
                  <a:pt x="640" y="408"/>
                </a:cubicBezTo>
                <a:cubicBezTo>
                  <a:pt x="638" y="406"/>
                  <a:pt x="637" y="403"/>
                  <a:pt x="637" y="400"/>
                </a:cubicBezTo>
                <a:cubicBezTo>
                  <a:pt x="637" y="400"/>
                  <a:pt x="638" y="398"/>
                  <a:pt x="638" y="396"/>
                </a:cubicBezTo>
                <a:cubicBezTo>
                  <a:pt x="639" y="394"/>
                  <a:pt x="639" y="392"/>
                  <a:pt x="639" y="389"/>
                </a:cubicBezTo>
                <a:cubicBezTo>
                  <a:pt x="640" y="386"/>
                  <a:pt x="640" y="384"/>
                  <a:pt x="641" y="382"/>
                </a:cubicBezTo>
                <a:cubicBezTo>
                  <a:pt x="641" y="380"/>
                  <a:pt x="641" y="378"/>
                  <a:pt x="641" y="378"/>
                </a:cubicBezTo>
                <a:cubicBezTo>
                  <a:pt x="641" y="378"/>
                  <a:pt x="642" y="373"/>
                  <a:pt x="642" y="368"/>
                </a:cubicBezTo>
                <a:cubicBezTo>
                  <a:pt x="643" y="365"/>
                  <a:pt x="643" y="362"/>
                  <a:pt x="643" y="360"/>
                </a:cubicBezTo>
                <a:cubicBezTo>
                  <a:pt x="643" y="358"/>
                  <a:pt x="643" y="357"/>
                  <a:pt x="643" y="357"/>
                </a:cubicBezTo>
                <a:cubicBezTo>
                  <a:pt x="643" y="354"/>
                  <a:pt x="645" y="351"/>
                  <a:pt x="648" y="349"/>
                </a:cubicBezTo>
                <a:cubicBezTo>
                  <a:pt x="648" y="349"/>
                  <a:pt x="655" y="346"/>
                  <a:pt x="663" y="342"/>
                </a:cubicBezTo>
                <a:cubicBezTo>
                  <a:pt x="666" y="340"/>
                  <a:pt x="670" y="338"/>
                  <a:pt x="673" y="337"/>
                </a:cubicBezTo>
                <a:cubicBezTo>
                  <a:pt x="675" y="335"/>
                  <a:pt x="677" y="334"/>
                  <a:pt x="677" y="334"/>
                </a:cubicBezTo>
                <a:cubicBezTo>
                  <a:pt x="680" y="332"/>
                  <a:pt x="682" y="329"/>
                  <a:pt x="682" y="325"/>
                </a:cubicBezTo>
                <a:cubicBezTo>
                  <a:pt x="682" y="325"/>
                  <a:pt x="681" y="319"/>
                  <a:pt x="681" y="312"/>
                </a:cubicBezTo>
                <a:cubicBezTo>
                  <a:pt x="681" y="309"/>
                  <a:pt x="680" y="305"/>
                  <a:pt x="680" y="303"/>
                </a:cubicBezTo>
                <a:cubicBezTo>
                  <a:pt x="680" y="300"/>
                  <a:pt x="680" y="299"/>
                  <a:pt x="680" y="299"/>
                </a:cubicBezTo>
                <a:cubicBezTo>
                  <a:pt x="679" y="295"/>
                  <a:pt x="677" y="292"/>
                  <a:pt x="674" y="291"/>
                </a:cubicBezTo>
                <a:cubicBezTo>
                  <a:pt x="674" y="291"/>
                  <a:pt x="666" y="288"/>
                  <a:pt x="658" y="285"/>
                </a:cubicBezTo>
                <a:cubicBezTo>
                  <a:pt x="651" y="282"/>
                  <a:pt x="643" y="280"/>
                  <a:pt x="643" y="280"/>
                </a:cubicBezTo>
                <a:cubicBezTo>
                  <a:pt x="640" y="279"/>
                  <a:pt x="638" y="277"/>
                  <a:pt x="637" y="273"/>
                </a:cubicBezTo>
                <a:cubicBezTo>
                  <a:pt x="637" y="273"/>
                  <a:pt x="636" y="268"/>
                  <a:pt x="634" y="263"/>
                </a:cubicBezTo>
                <a:cubicBezTo>
                  <a:pt x="633" y="258"/>
                  <a:pt x="631" y="253"/>
                  <a:pt x="631" y="253"/>
                </a:cubicBezTo>
                <a:cubicBezTo>
                  <a:pt x="631" y="253"/>
                  <a:pt x="631" y="251"/>
                  <a:pt x="630" y="249"/>
                </a:cubicBezTo>
                <a:cubicBezTo>
                  <a:pt x="630" y="247"/>
                  <a:pt x="629" y="245"/>
                  <a:pt x="628" y="242"/>
                </a:cubicBezTo>
                <a:cubicBezTo>
                  <a:pt x="627" y="240"/>
                  <a:pt x="626" y="237"/>
                  <a:pt x="626" y="235"/>
                </a:cubicBezTo>
                <a:cubicBezTo>
                  <a:pt x="625" y="233"/>
                  <a:pt x="625" y="232"/>
                  <a:pt x="625" y="232"/>
                </a:cubicBezTo>
                <a:cubicBezTo>
                  <a:pt x="623" y="229"/>
                  <a:pt x="624" y="226"/>
                  <a:pt x="626" y="223"/>
                </a:cubicBezTo>
                <a:cubicBezTo>
                  <a:pt x="626" y="223"/>
                  <a:pt x="627" y="222"/>
                  <a:pt x="629" y="219"/>
                </a:cubicBezTo>
                <a:cubicBezTo>
                  <a:pt x="631" y="217"/>
                  <a:pt x="634" y="214"/>
                  <a:pt x="636" y="211"/>
                </a:cubicBezTo>
                <a:cubicBezTo>
                  <a:pt x="641" y="204"/>
                  <a:pt x="646" y="197"/>
                  <a:pt x="646" y="197"/>
                </a:cubicBezTo>
                <a:cubicBezTo>
                  <a:pt x="648" y="195"/>
                  <a:pt x="649" y="191"/>
                  <a:pt x="647" y="188"/>
                </a:cubicBezTo>
                <a:cubicBezTo>
                  <a:pt x="647" y="188"/>
                  <a:pt x="644" y="182"/>
                  <a:pt x="641" y="176"/>
                </a:cubicBezTo>
                <a:cubicBezTo>
                  <a:pt x="637" y="170"/>
                  <a:pt x="634" y="164"/>
                  <a:pt x="634" y="164"/>
                </a:cubicBezTo>
                <a:cubicBezTo>
                  <a:pt x="632" y="161"/>
                  <a:pt x="629" y="159"/>
                  <a:pt x="626" y="159"/>
                </a:cubicBezTo>
                <a:cubicBezTo>
                  <a:pt x="626" y="159"/>
                  <a:pt x="617" y="160"/>
                  <a:pt x="609" y="160"/>
                </a:cubicBezTo>
                <a:cubicBezTo>
                  <a:pt x="605" y="161"/>
                  <a:pt x="601" y="161"/>
                  <a:pt x="598" y="162"/>
                </a:cubicBezTo>
                <a:cubicBezTo>
                  <a:pt x="595" y="162"/>
                  <a:pt x="593" y="162"/>
                  <a:pt x="593" y="162"/>
                </a:cubicBezTo>
                <a:cubicBezTo>
                  <a:pt x="590" y="163"/>
                  <a:pt x="587" y="161"/>
                  <a:pt x="585" y="159"/>
                </a:cubicBezTo>
                <a:cubicBezTo>
                  <a:pt x="585" y="159"/>
                  <a:pt x="582" y="154"/>
                  <a:pt x="578" y="150"/>
                </a:cubicBezTo>
                <a:cubicBezTo>
                  <a:pt x="576" y="148"/>
                  <a:pt x="575" y="146"/>
                  <a:pt x="573" y="144"/>
                </a:cubicBezTo>
                <a:cubicBezTo>
                  <a:pt x="572" y="143"/>
                  <a:pt x="571" y="142"/>
                  <a:pt x="571" y="142"/>
                </a:cubicBezTo>
                <a:cubicBezTo>
                  <a:pt x="571" y="142"/>
                  <a:pt x="568" y="138"/>
                  <a:pt x="564" y="134"/>
                </a:cubicBezTo>
                <a:cubicBezTo>
                  <a:pt x="562" y="132"/>
                  <a:pt x="561" y="130"/>
                  <a:pt x="559" y="128"/>
                </a:cubicBezTo>
                <a:cubicBezTo>
                  <a:pt x="558" y="127"/>
                  <a:pt x="557" y="126"/>
                  <a:pt x="557" y="126"/>
                </a:cubicBezTo>
                <a:cubicBezTo>
                  <a:pt x="554" y="123"/>
                  <a:pt x="554" y="120"/>
                  <a:pt x="555" y="117"/>
                </a:cubicBezTo>
                <a:cubicBezTo>
                  <a:pt x="555" y="117"/>
                  <a:pt x="555" y="115"/>
                  <a:pt x="556" y="112"/>
                </a:cubicBezTo>
                <a:cubicBezTo>
                  <a:pt x="557" y="109"/>
                  <a:pt x="558" y="105"/>
                  <a:pt x="559" y="101"/>
                </a:cubicBezTo>
                <a:cubicBezTo>
                  <a:pt x="561" y="93"/>
                  <a:pt x="563" y="85"/>
                  <a:pt x="563" y="85"/>
                </a:cubicBezTo>
                <a:cubicBezTo>
                  <a:pt x="563" y="82"/>
                  <a:pt x="562" y="79"/>
                  <a:pt x="559" y="76"/>
                </a:cubicBezTo>
                <a:cubicBezTo>
                  <a:pt x="559" y="76"/>
                  <a:pt x="558" y="75"/>
                  <a:pt x="556" y="74"/>
                </a:cubicBezTo>
                <a:cubicBezTo>
                  <a:pt x="554" y="72"/>
                  <a:pt x="551" y="70"/>
                  <a:pt x="549" y="68"/>
                </a:cubicBezTo>
                <a:cubicBezTo>
                  <a:pt x="546" y="66"/>
                  <a:pt x="543" y="64"/>
                  <a:pt x="541" y="62"/>
                </a:cubicBezTo>
                <a:cubicBezTo>
                  <a:pt x="539" y="61"/>
                  <a:pt x="538" y="60"/>
                  <a:pt x="538" y="60"/>
                </a:cubicBezTo>
                <a:cubicBezTo>
                  <a:pt x="535" y="58"/>
                  <a:pt x="531" y="57"/>
                  <a:pt x="528" y="59"/>
                </a:cubicBezTo>
                <a:cubicBezTo>
                  <a:pt x="528" y="59"/>
                  <a:pt x="521" y="62"/>
                  <a:pt x="514" y="66"/>
                </a:cubicBezTo>
                <a:cubicBezTo>
                  <a:pt x="506" y="70"/>
                  <a:pt x="499" y="75"/>
                  <a:pt x="499" y="75"/>
                </a:cubicBezTo>
                <a:cubicBezTo>
                  <a:pt x="497" y="76"/>
                  <a:pt x="493" y="76"/>
                  <a:pt x="490" y="75"/>
                </a:cubicBezTo>
                <a:cubicBezTo>
                  <a:pt x="490" y="75"/>
                  <a:pt x="486" y="72"/>
                  <a:pt x="481" y="70"/>
                </a:cubicBezTo>
                <a:cubicBezTo>
                  <a:pt x="479" y="68"/>
                  <a:pt x="476" y="67"/>
                  <a:pt x="474" y="66"/>
                </a:cubicBezTo>
                <a:cubicBezTo>
                  <a:pt x="473" y="65"/>
                  <a:pt x="471" y="65"/>
                  <a:pt x="471" y="65"/>
                </a:cubicBezTo>
                <a:cubicBezTo>
                  <a:pt x="471" y="65"/>
                  <a:pt x="470" y="64"/>
                  <a:pt x="468" y="63"/>
                </a:cubicBezTo>
                <a:cubicBezTo>
                  <a:pt x="466" y="62"/>
                  <a:pt x="464" y="61"/>
                  <a:pt x="462" y="60"/>
                </a:cubicBezTo>
                <a:cubicBezTo>
                  <a:pt x="459" y="59"/>
                  <a:pt x="457" y="58"/>
                  <a:pt x="455" y="57"/>
                </a:cubicBezTo>
                <a:cubicBezTo>
                  <a:pt x="453" y="57"/>
                  <a:pt x="452" y="56"/>
                  <a:pt x="452" y="56"/>
                </a:cubicBezTo>
                <a:cubicBezTo>
                  <a:pt x="449" y="55"/>
                  <a:pt x="446" y="52"/>
                  <a:pt x="446" y="49"/>
                </a:cubicBezTo>
                <a:cubicBezTo>
                  <a:pt x="446" y="49"/>
                  <a:pt x="445" y="41"/>
                  <a:pt x="444" y="33"/>
                </a:cubicBezTo>
                <a:cubicBezTo>
                  <a:pt x="442" y="25"/>
                  <a:pt x="440" y="17"/>
                  <a:pt x="440" y="17"/>
                </a:cubicBezTo>
                <a:cubicBezTo>
                  <a:pt x="440" y="14"/>
                  <a:pt x="437" y="11"/>
                  <a:pt x="433" y="10"/>
                </a:cubicBezTo>
                <a:cubicBezTo>
                  <a:pt x="433" y="10"/>
                  <a:pt x="427" y="8"/>
                  <a:pt x="421" y="7"/>
                </a:cubicBezTo>
                <a:cubicBezTo>
                  <a:pt x="417" y="6"/>
                  <a:pt x="414" y="5"/>
                  <a:pt x="412" y="5"/>
                </a:cubicBezTo>
                <a:cubicBezTo>
                  <a:pt x="409" y="4"/>
                  <a:pt x="407" y="4"/>
                  <a:pt x="407" y="4"/>
                </a:cubicBezTo>
                <a:cubicBezTo>
                  <a:pt x="404" y="3"/>
                  <a:pt x="400" y="4"/>
                  <a:pt x="398" y="7"/>
                </a:cubicBezTo>
                <a:cubicBezTo>
                  <a:pt x="398" y="7"/>
                  <a:pt x="393" y="13"/>
                  <a:pt x="388" y="20"/>
                </a:cubicBezTo>
                <a:cubicBezTo>
                  <a:pt x="383" y="26"/>
                  <a:pt x="378" y="33"/>
                  <a:pt x="378" y="33"/>
                </a:cubicBezTo>
                <a:cubicBezTo>
                  <a:pt x="377" y="36"/>
                  <a:pt x="374" y="37"/>
                  <a:pt x="370" y="37"/>
                </a:cubicBezTo>
                <a:cubicBezTo>
                  <a:pt x="370" y="37"/>
                  <a:pt x="369" y="36"/>
                  <a:pt x="367" y="36"/>
                </a:cubicBezTo>
                <a:cubicBezTo>
                  <a:pt x="365" y="36"/>
                  <a:pt x="362" y="36"/>
                  <a:pt x="360" y="36"/>
                </a:cubicBezTo>
                <a:cubicBezTo>
                  <a:pt x="357" y="36"/>
                  <a:pt x="354" y="35"/>
                  <a:pt x="352" y="35"/>
                </a:cubicBezTo>
                <a:cubicBezTo>
                  <a:pt x="350" y="35"/>
                  <a:pt x="349" y="35"/>
                  <a:pt x="349" y="35"/>
                </a:cubicBezTo>
                <a:cubicBezTo>
                  <a:pt x="349" y="35"/>
                  <a:pt x="343" y="35"/>
                  <a:pt x="338" y="35"/>
                </a:cubicBezTo>
                <a:cubicBezTo>
                  <a:pt x="333" y="35"/>
                  <a:pt x="327" y="35"/>
                  <a:pt x="327" y="35"/>
                </a:cubicBezTo>
                <a:cubicBezTo>
                  <a:pt x="324" y="35"/>
                  <a:pt x="321" y="34"/>
                  <a:pt x="319" y="31"/>
                </a:cubicBezTo>
                <a:cubicBezTo>
                  <a:pt x="319" y="31"/>
                  <a:pt x="315" y="24"/>
                  <a:pt x="310" y="17"/>
                </a:cubicBezTo>
                <a:cubicBezTo>
                  <a:pt x="308" y="14"/>
                  <a:pt x="306" y="11"/>
                  <a:pt x="304" y="8"/>
                </a:cubicBezTo>
                <a:cubicBezTo>
                  <a:pt x="302" y="6"/>
                  <a:pt x="301" y="4"/>
                  <a:pt x="301" y="4"/>
                </a:cubicBezTo>
                <a:cubicBezTo>
                  <a:pt x="299" y="1"/>
                  <a:pt x="295" y="0"/>
                  <a:pt x="292" y="1"/>
                </a:cubicBezTo>
                <a:cubicBezTo>
                  <a:pt x="292" y="1"/>
                  <a:pt x="290" y="1"/>
                  <a:pt x="288" y="1"/>
                </a:cubicBezTo>
                <a:cubicBezTo>
                  <a:pt x="285" y="2"/>
                  <a:pt x="282" y="2"/>
                  <a:pt x="279" y="3"/>
                </a:cubicBezTo>
                <a:cubicBezTo>
                  <a:pt x="272" y="4"/>
                  <a:pt x="266" y="5"/>
                  <a:pt x="266" y="5"/>
                </a:cubicBezTo>
                <a:cubicBezTo>
                  <a:pt x="262" y="6"/>
                  <a:pt x="259" y="9"/>
                  <a:pt x="258" y="12"/>
                </a:cubicBezTo>
                <a:cubicBezTo>
                  <a:pt x="258" y="12"/>
                  <a:pt x="258" y="14"/>
                  <a:pt x="257" y="17"/>
                </a:cubicBezTo>
                <a:cubicBezTo>
                  <a:pt x="256" y="20"/>
                  <a:pt x="255" y="24"/>
                  <a:pt x="254" y="28"/>
                </a:cubicBezTo>
                <a:cubicBezTo>
                  <a:pt x="252" y="36"/>
                  <a:pt x="251" y="44"/>
                  <a:pt x="251" y="44"/>
                </a:cubicBezTo>
                <a:cubicBezTo>
                  <a:pt x="250" y="47"/>
                  <a:pt x="248" y="50"/>
                  <a:pt x="245" y="51"/>
                </a:cubicBezTo>
                <a:cubicBezTo>
                  <a:pt x="245" y="51"/>
                  <a:pt x="244" y="51"/>
                  <a:pt x="242" y="52"/>
                </a:cubicBezTo>
                <a:cubicBezTo>
                  <a:pt x="240" y="52"/>
                  <a:pt x="237" y="53"/>
                  <a:pt x="235" y="54"/>
                </a:cubicBezTo>
                <a:cubicBezTo>
                  <a:pt x="230" y="56"/>
                  <a:pt x="225" y="58"/>
                  <a:pt x="225" y="58"/>
                </a:cubicBezTo>
                <a:cubicBezTo>
                  <a:pt x="225" y="58"/>
                  <a:pt x="224" y="58"/>
                  <a:pt x="224" y="58"/>
                </a:cubicBezTo>
                <a:cubicBezTo>
                  <a:pt x="223" y="59"/>
                  <a:pt x="223" y="59"/>
                  <a:pt x="222" y="59"/>
                </a:cubicBezTo>
                <a:cubicBezTo>
                  <a:pt x="220" y="60"/>
                  <a:pt x="217" y="61"/>
                  <a:pt x="215" y="62"/>
                </a:cubicBezTo>
                <a:cubicBezTo>
                  <a:pt x="212" y="64"/>
                  <a:pt x="210" y="65"/>
                  <a:pt x="208" y="66"/>
                </a:cubicBezTo>
                <a:cubicBezTo>
                  <a:pt x="206" y="66"/>
                  <a:pt x="205" y="67"/>
                  <a:pt x="205" y="67"/>
                </a:cubicBezTo>
                <a:cubicBezTo>
                  <a:pt x="202" y="69"/>
                  <a:pt x="199" y="68"/>
                  <a:pt x="196" y="67"/>
                </a:cubicBezTo>
                <a:cubicBezTo>
                  <a:pt x="196" y="67"/>
                  <a:pt x="189" y="62"/>
                  <a:pt x="182" y="58"/>
                </a:cubicBezTo>
                <a:cubicBezTo>
                  <a:pt x="176" y="53"/>
                  <a:pt x="168" y="49"/>
                  <a:pt x="168" y="49"/>
                </a:cubicBezTo>
                <a:cubicBezTo>
                  <a:pt x="165" y="47"/>
                  <a:pt x="162" y="48"/>
                  <a:pt x="159" y="50"/>
                </a:cubicBezTo>
                <a:cubicBezTo>
                  <a:pt x="159" y="50"/>
                  <a:pt x="153" y="53"/>
                  <a:pt x="147" y="57"/>
                </a:cubicBezTo>
                <a:cubicBezTo>
                  <a:pt x="142" y="61"/>
                  <a:pt x="137" y="65"/>
                  <a:pt x="137" y="65"/>
                </a:cubicBezTo>
                <a:cubicBezTo>
                  <a:pt x="134" y="67"/>
                  <a:pt x="132" y="70"/>
                  <a:pt x="133" y="74"/>
                </a:cubicBezTo>
                <a:cubicBezTo>
                  <a:pt x="133" y="74"/>
                  <a:pt x="134" y="82"/>
                  <a:pt x="135" y="90"/>
                </a:cubicBezTo>
                <a:cubicBezTo>
                  <a:pt x="137" y="98"/>
                  <a:pt x="139" y="106"/>
                  <a:pt x="139" y="106"/>
                </a:cubicBezTo>
                <a:cubicBezTo>
                  <a:pt x="140" y="109"/>
                  <a:pt x="139" y="112"/>
                  <a:pt x="136" y="114"/>
                </a:cubicBezTo>
                <a:cubicBezTo>
                  <a:pt x="136" y="114"/>
                  <a:pt x="135" y="115"/>
                  <a:pt x="134" y="117"/>
                </a:cubicBezTo>
                <a:cubicBezTo>
                  <a:pt x="132" y="118"/>
                  <a:pt x="130" y="120"/>
                  <a:pt x="128" y="122"/>
                </a:cubicBezTo>
                <a:cubicBezTo>
                  <a:pt x="126" y="124"/>
                  <a:pt x="124" y="126"/>
                  <a:pt x="123" y="127"/>
                </a:cubicBezTo>
                <a:cubicBezTo>
                  <a:pt x="122" y="128"/>
                  <a:pt x="122" y="128"/>
                  <a:pt x="121" y="129"/>
                </a:cubicBezTo>
                <a:cubicBezTo>
                  <a:pt x="121" y="129"/>
                  <a:pt x="121" y="129"/>
                  <a:pt x="121" y="129"/>
                </a:cubicBezTo>
                <a:cubicBezTo>
                  <a:pt x="121" y="129"/>
                  <a:pt x="117" y="133"/>
                  <a:pt x="113" y="137"/>
                </a:cubicBezTo>
                <a:cubicBezTo>
                  <a:pt x="112" y="139"/>
                  <a:pt x="110" y="141"/>
                  <a:pt x="109" y="143"/>
                </a:cubicBezTo>
                <a:cubicBezTo>
                  <a:pt x="107" y="145"/>
                  <a:pt x="106" y="146"/>
                  <a:pt x="106" y="146"/>
                </a:cubicBezTo>
                <a:cubicBezTo>
                  <a:pt x="104" y="148"/>
                  <a:pt x="101" y="149"/>
                  <a:pt x="98" y="149"/>
                </a:cubicBezTo>
                <a:cubicBezTo>
                  <a:pt x="98" y="149"/>
                  <a:pt x="90" y="147"/>
                  <a:pt x="82" y="146"/>
                </a:cubicBezTo>
                <a:cubicBezTo>
                  <a:pt x="78" y="145"/>
                  <a:pt x="74" y="145"/>
                  <a:pt x="71" y="145"/>
                </a:cubicBezTo>
                <a:cubicBezTo>
                  <a:pt x="67" y="144"/>
                  <a:pt x="65" y="144"/>
                  <a:pt x="65" y="144"/>
                </a:cubicBezTo>
                <a:cubicBezTo>
                  <a:pt x="62" y="144"/>
                  <a:pt x="59" y="145"/>
                  <a:pt x="57" y="149"/>
                </a:cubicBezTo>
                <a:cubicBezTo>
                  <a:pt x="57" y="149"/>
                  <a:pt x="53" y="154"/>
                  <a:pt x="50" y="160"/>
                </a:cubicBezTo>
                <a:cubicBezTo>
                  <a:pt x="48" y="163"/>
                  <a:pt x="46" y="166"/>
                  <a:pt x="45" y="168"/>
                </a:cubicBezTo>
                <a:cubicBezTo>
                  <a:pt x="44" y="170"/>
                  <a:pt x="43" y="171"/>
                  <a:pt x="43" y="171"/>
                </a:cubicBezTo>
                <a:cubicBezTo>
                  <a:pt x="41" y="175"/>
                  <a:pt x="41" y="178"/>
                  <a:pt x="43" y="181"/>
                </a:cubicBezTo>
                <a:cubicBezTo>
                  <a:pt x="43" y="181"/>
                  <a:pt x="44" y="183"/>
                  <a:pt x="46" y="185"/>
                </a:cubicBezTo>
                <a:cubicBezTo>
                  <a:pt x="47" y="188"/>
                  <a:pt x="50" y="191"/>
                  <a:pt x="52" y="195"/>
                </a:cubicBezTo>
                <a:cubicBezTo>
                  <a:pt x="57" y="202"/>
                  <a:pt x="62" y="208"/>
                  <a:pt x="62" y="208"/>
                </a:cubicBezTo>
                <a:cubicBezTo>
                  <a:pt x="64" y="210"/>
                  <a:pt x="64" y="214"/>
                  <a:pt x="63" y="217"/>
                </a:cubicBezTo>
                <a:cubicBezTo>
                  <a:pt x="63" y="217"/>
                  <a:pt x="61" y="222"/>
                  <a:pt x="58" y="227"/>
                </a:cubicBezTo>
                <a:cubicBezTo>
                  <a:pt x="57" y="232"/>
                  <a:pt x="55" y="237"/>
                  <a:pt x="55" y="237"/>
                </a:cubicBezTo>
                <a:cubicBezTo>
                  <a:pt x="55" y="237"/>
                  <a:pt x="54" y="238"/>
                  <a:pt x="54" y="240"/>
                </a:cubicBezTo>
                <a:cubicBezTo>
                  <a:pt x="53" y="242"/>
                  <a:pt x="52" y="245"/>
                  <a:pt x="51" y="247"/>
                </a:cubicBezTo>
                <a:cubicBezTo>
                  <a:pt x="51" y="250"/>
                  <a:pt x="50" y="252"/>
                  <a:pt x="49" y="254"/>
                </a:cubicBezTo>
                <a:cubicBezTo>
                  <a:pt x="49" y="256"/>
                  <a:pt x="48" y="257"/>
                  <a:pt x="48" y="257"/>
                </a:cubicBezTo>
                <a:cubicBezTo>
                  <a:pt x="47" y="261"/>
                  <a:pt x="45" y="263"/>
                  <a:pt x="42" y="264"/>
                </a:cubicBezTo>
                <a:cubicBezTo>
                  <a:pt x="42" y="264"/>
                  <a:pt x="34" y="266"/>
                  <a:pt x="26" y="268"/>
                </a:cubicBezTo>
                <a:cubicBezTo>
                  <a:pt x="18" y="270"/>
                  <a:pt x="10" y="273"/>
                  <a:pt x="10" y="273"/>
                </a:cubicBezTo>
                <a:cubicBezTo>
                  <a:pt x="7" y="274"/>
                  <a:pt x="5" y="277"/>
                  <a:pt x="4" y="280"/>
                </a:cubicBezTo>
                <a:cubicBezTo>
                  <a:pt x="4" y="280"/>
                  <a:pt x="4" y="282"/>
                  <a:pt x="4" y="284"/>
                </a:cubicBezTo>
                <a:cubicBezTo>
                  <a:pt x="3" y="287"/>
                  <a:pt x="3" y="290"/>
                  <a:pt x="2" y="294"/>
                </a:cubicBezTo>
                <a:cubicBezTo>
                  <a:pt x="1" y="300"/>
                  <a:pt x="1" y="307"/>
                  <a:pt x="1" y="307"/>
                </a:cubicBezTo>
                <a:cubicBezTo>
                  <a:pt x="0" y="310"/>
                  <a:pt x="2" y="314"/>
                  <a:pt x="5" y="316"/>
                </a:cubicBezTo>
                <a:cubicBezTo>
                  <a:pt x="5" y="316"/>
                  <a:pt x="11" y="320"/>
                  <a:pt x="18" y="324"/>
                </a:cubicBezTo>
                <a:cubicBezTo>
                  <a:pt x="26" y="329"/>
                  <a:pt x="33" y="333"/>
                  <a:pt x="33" y="333"/>
                </a:cubicBezTo>
                <a:cubicBezTo>
                  <a:pt x="36" y="334"/>
                  <a:pt x="37" y="337"/>
                  <a:pt x="37" y="340"/>
                </a:cubicBezTo>
                <a:cubicBezTo>
                  <a:pt x="37" y="340"/>
                  <a:pt x="37" y="342"/>
                  <a:pt x="37" y="344"/>
                </a:cubicBezTo>
                <a:cubicBezTo>
                  <a:pt x="37" y="346"/>
                  <a:pt x="37" y="348"/>
                  <a:pt x="37" y="351"/>
                </a:cubicBezTo>
                <a:cubicBezTo>
                  <a:pt x="38" y="354"/>
                  <a:pt x="38" y="357"/>
                  <a:pt x="38" y="359"/>
                </a:cubicBezTo>
                <a:cubicBezTo>
                  <a:pt x="38" y="361"/>
                  <a:pt x="38" y="362"/>
                  <a:pt x="38" y="362"/>
                </a:cubicBezTo>
                <a:cubicBezTo>
                  <a:pt x="38" y="362"/>
                  <a:pt x="38" y="363"/>
                  <a:pt x="38" y="365"/>
                </a:cubicBezTo>
                <a:cubicBezTo>
                  <a:pt x="39" y="367"/>
                  <a:pt x="39" y="370"/>
                  <a:pt x="39" y="373"/>
                </a:cubicBezTo>
                <a:cubicBezTo>
                  <a:pt x="40" y="378"/>
                  <a:pt x="41" y="383"/>
                  <a:pt x="41" y="383"/>
                </a:cubicBezTo>
                <a:cubicBezTo>
                  <a:pt x="41" y="387"/>
                  <a:pt x="40" y="390"/>
                  <a:pt x="37" y="392"/>
                </a:cubicBezTo>
                <a:cubicBezTo>
                  <a:pt x="37" y="392"/>
                  <a:pt x="31" y="397"/>
                  <a:pt x="24" y="402"/>
                </a:cubicBezTo>
                <a:cubicBezTo>
                  <a:pt x="18" y="407"/>
                  <a:pt x="12" y="413"/>
                  <a:pt x="12" y="413"/>
                </a:cubicBezTo>
                <a:cubicBezTo>
                  <a:pt x="10" y="415"/>
                  <a:pt x="9" y="419"/>
                  <a:pt x="9" y="422"/>
                </a:cubicBezTo>
                <a:cubicBezTo>
                  <a:pt x="9" y="422"/>
                  <a:pt x="10" y="424"/>
                  <a:pt x="11" y="426"/>
                </a:cubicBezTo>
                <a:cubicBezTo>
                  <a:pt x="11" y="429"/>
                  <a:pt x="12" y="432"/>
                  <a:pt x="13" y="435"/>
                </a:cubicBezTo>
                <a:cubicBezTo>
                  <a:pt x="14" y="438"/>
                  <a:pt x="15" y="441"/>
                  <a:pt x="16" y="444"/>
                </a:cubicBezTo>
                <a:cubicBezTo>
                  <a:pt x="17" y="446"/>
                  <a:pt x="17" y="448"/>
                  <a:pt x="17" y="448"/>
                </a:cubicBezTo>
                <a:cubicBezTo>
                  <a:pt x="18" y="451"/>
                  <a:pt x="21" y="454"/>
                  <a:pt x="24" y="454"/>
                </a:cubicBezTo>
                <a:cubicBezTo>
                  <a:pt x="24" y="454"/>
                  <a:pt x="33" y="456"/>
                  <a:pt x="41" y="457"/>
                </a:cubicBezTo>
                <a:cubicBezTo>
                  <a:pt x="45" y="457"/>
                  <a:pt x="49" y="458"/>
                  <a:pt x="52" y="458"/>
                </a:cubicBezTo>
                <a:cubicBezTo>
                  <a:pt x="55" y="458"/>
                  <a:pt x="57" y="458"/>
                  <a:pt x="57" y="458"/>
                </a:cubicBezTo>
                <a:cubicBezTo>
                  <a:pt x="60" y="459"/>
                  <a:pt x="63" y="461"/>
                  <a:pt x="64" y="464"/>
                </a:cubicBezTo>
                <a:cubicBezTo>
                  <a:pt x="64" y="464"/>
                  <a:pt x="65" y="465"/>
                  <a:pt x="66" y="467"/>
                </a:cubicBezTo>
                <a:cubicBezTo>
                  <a:pt x="66" y="468"/>
                  <a:pt x="68" y="471"/>
                  <a:pt x="69" y="473"/>
                </a:cubicBezTo>
                <a:cubicBezTo>
                  <a:pt x="71" y="478"/>
                  <a:pt x="74" y="483"/>
                  <a:pt x="74" y="483"/>
                </a:cubicBezTo>
                <a:cubicBezTo>
                  <a:pt x="74" y="483"/>
                  <a:pt x="74" y="484"/>
                  <a:pt x="75" y="486"/>
                </a:cubicBezTo>
                <a:cubicBezTo>
                  <a:pt x="76" y="488"/>
                  <a:pt x="78" y="490"/>
                  <a:pt x="79" y="492"/>
                </a:cubicBezTo>
                <a:cubicBezTo>
                  <a:pt x="82" y="497"/>
                  <a:pt x="85" y="501"/>
                  <a:pt x="85" y="501"/>
                </a:cubicBezTo>
                <a:cubicBezTo>
                  <a:pt x="87" y="504"/>
                  <a:pt x="87" y="508"/>
                  <a:pt x="85" y="510"/>
                </a:cubicBezTo>
                <a:cubicBezTo>
                  <a:pt x="85" y="510"/>
                  <a:pt x="84" y="512"/>
                  <a:pt x="83" y="515"/>
                </a:cubicBezTo>
                <a:cubicBezTo>
                  <a:pt x="81" y="518"/>
                  <a:pt x="79" y="521"/>
                  <a:pt x="78" y="525"/>
                </a:cubicBezTo>
                <a:cubicBezTo>
                  <a:pt x="74" y="532"/>
                  <a:pt x="71" y="540"/>
                  <a:pt x="71" y="540"/>
                </a:cubicBezTo>
                <a:cubicBezTo>
                  <a:pt x="69" y="543"/>
                  <a:pt x="70" y="547"/>
                  <a:pt x="72" y="549"/>
                </a:cubicBezTo>
                <a:cubicBezTo>
                  <a:pt x="72" y="549"/>
                  <a:pt x="76" y="555"/>
                  <a:pt x="81" y="560"/>
                </a:cubicBezTo>
                <a:cubicBezTo>
                  <a:pt x="85" y="565"/>
                  <a:pt x="90" y="570"/>
                  <a:pt x="90" y="570"/>
                </a:cubicBezTo>
                <a:cubicBezTo>
                  <a:pt x="92" y="573"/>
                  <a:pt x="96" y="574"/>
                  <a:pt x="99" y="573"/>
                </a:cubicBezTo>
                <a:cubicBezTo>
                  <a:pt x="99" y="573"/>
                  <a:pt x="107" y="571"/>
                  <a:pt x="115" y="568"/>
                </a:cubicBezTo>
                <a:cubicBezTo>
                  <a:pt x="119" y="567"/>
                  <a:pt x="122" y="566"/>
                  <a:pt x="125" y="565"/>
                </a:cubicBezTo>
                <a:cubicBezTo>
                  <a:pt x="128" y="564"/>
                  <a:pt x="130" y="563"/>
                  <a:pt x="130" y="563"/>
                </a:cubicBezTo>
                <a:cubicBezTo>
                  <a:pt x="133" y="562"/>
                  <a:pt x="137" y="563"/>
                  <a:pt x="139" y="565"/>
                </a:cubicBezTo>
                <a:cubicBezTo>
                  <a:pt x="139" y="565"/>
                  <a:pt x="140" y="566"/>
                  <a:pt x="141" y="567"/>
                </a:cubicBezTo>
                <a:cubicBezTo>
                  <a:pt x="143" y="569"/>
                  <a:pt x="145" y="570"/>
                  <a:pt x="147" y="572"/>
                </a:cubicBezTo>
                <a:cubicBezTo>
                  <a:pt x="149" y="574"/>
                  <a:pt x="151" y="576"/>
                  <a:pt x="153" y="577"/>
                </a:cubicBezTo>
                <a:cubicBezTo>
                  <a:pt x="155" y="578"/>
                  <a:pt x="156" y="579"/>
                  <a:pt x="156" y="579"/>
                </a:cubicBezTo>
                <a:cubicBezTo>
                  <a:pt x="156" y="579"/>
                  <a:pt x="160" y="582"/>
                  <a:pt x="164" y="585"/>
                </a:cubicBezTo>
                <a:cubicBezTo>
                  <a:pt x="169" y="588"/>
                  <a:pt x="173" y="591"/>
                  <a:pt x="173" y="591"/>
                </a:cubicBezTo>
                <a:cubicBezTo>
                  <a:pt x="176" y="593"/>
                  <a:pt x="177" y="596"/>
                  <a:pt x="177" y="599"/>
                </a:cubicBezTo>
                <a:cubicBezTo>
                  <a:pt x="177" y="599"/>
                  <a:pt x="177" y="607"/>
                  <a:pt x="176" y="616"/>
                </a:cubicBezTo>
                <a:cubicBezTo>
                  <a:pt x="176" y="624"/>
                  <a:pt x="176" y="632"/>
                  <a:pt x="176" y="632"/>
                </a:cubicBezTo>
                <a:cubicBezTo>
                  <a:pt x="176" y="635"/>
                  <a:pt x="178" y="639"/>
                  <a:pt x="181" y="640"/>
                </a:cubicBezTo>
                <a:cubicBezTo>
                  <a:pt x="181" y="640"/>
                  <a:pt x="183" y="641"/>
                  <a:pt x="185" y="642"/>
                </a:cubicBezTo>
                <a:cubicBezTo>
                  <a:pt x="187" y="643"/>
                  <a:pt x="190" y="645"/>
                  <a:pt x="193" y="646"/>
                </a:cubicBezTo>
                <a:cubicBezTo>
                  <a:pt x="199" y="649"/>
                  <a:pt x="205" y="652"/>
                  <a:pt x="205" y="652"/>
                </a:cubicBezTo>
                <a:cubicBezTo>
                  <a:pt x="209" y="653"/>
                  <a:pt x="213" y="653"/>
                  <a:pt x="215" y="651"/>
                </a:cubicBezTo>
                <a:cubicBezTo>
                  <a:pt x="215" y="651"/>
                  <a:pt x="217" y="650"/>
                  <a:pt x="219" y="648"/>
                </a:cubicBezTo>
                <a:cubicBezTo>
                  <a:pt x="222" y="646"/>
                  <a:pt x="225" y="643"/>
                  <a:pt x="228" y="640"/>
                </a:cubicBezTo>
                <a:cubicBezTo>
                  <a:pt x="234" y="635"/>
                  <a:pt x="240" y="629"/>
                  <a:pt x="240" y="629"/>
                </a:cubicBezTo>
                <a:cubicBezTo>
                  <a:pt x="242" y="627"/>
                  <a:pt x="246" y="626"/>
                  <a:pt x="249" y="627"/>
                </a:cubicBezTo>
                <a:cubicBezTo>
                  <a:pt x="249" y="627"/>
                  <a:pt x="250" y="628"/>
                  <a:pt x="252" y="628"/>
                </a:cubicBezTo>
                <a:cubicBezTo>
                  <a:pt x="254" y="629"/>
                  <a:pt x="256" y="630"/>
                  <a:pt x="259" y="631"/>
                </a:cubicBezTo>
                <a:cubicBezTo>
                  <a:pt x="264" y="632"/>
                  <a:pt x="269" y="633"/>
                  <a:pt x="269" y="633"/>
                </a:cubicBezTo>
                <a:cubicBezTo>
                  <a:pt x="269" y="633"/>
                  <a:pt x="271" y="634"/>
                  <a:pt x="273" y="634"/>
                </a:cubicBezTo>
                <a:cubicBezTo>
                  <a:pt x="275" y="634"/>
                  <a:pt x="277" y="635"/>
                  <a:pt x="280" y="636"/>
                </a:cubicBezTo>
                <a:cubicBezTo>
                  <a:pt x="283" y="636"/>
                  <a:pt x="285" y="637"/>
                  <a:pt x="287" y="637"/>
                </a:cubicBezTo>
                <a:cubicBezTo>
                  <a:pt x="289" y="637"/>
                  <a:pt x="291" y="637"/>
                  <a:pt x="291" y="637"/>
                </a:cubicBezTo>
                <a:cubicBezTo>
                  <a:pt x="294" y="638"/>
                  <a:pt x="296" y="640"/>
                  <a:pt x="297" y="643"/>
                </a:cubicBezTo>
                <a:cubicBezTo>
                  <a:pt x="297" y="643"/>
                  <a:pt x="298" y="645"/>
                  <a:pt x="299" y="648"/>
                </a:cubicBezTo>
                <a:cubicBezTo>
                  <a:pt x="300" y="651"/>
                  <a:pt x="302" y="655"/>
                  <a:pt x="303" y="659"/>
                </a:cubicBezTo>
                <a:cubicBezTo>
                  <a:pt x="306" y="666"/>
                  <a:pt x="310" y="674"/>
                  <a:pt x="310" y="674"/>
                </a:cubicBezTo>
                <a:cubicBezTo>
                  <a:pt x="311" y="677"/>
                  <a:pt x="314" y="679"/>
                  <a:pt x="318" y="679"/>
                </a:cubicBezTo>
                <a:cubicBezTo>
                  <a:pt x="318" y="679"/>
                  <a:pt x="320" y="679"/>
                  <a:pt x="322" y="679"/>
                </a:cubicBezTo>
                <a:cubicBezTo>
                  <a:pt x="325" y="679"/>
                  <a:pt x="328" y="680"/>
                  <a:pt x="331" y="680"/>
                </a:cubicBezTo>
                <a:cubicBezTo>
                  <a:pt x="335" y="680"/>
                  <a:pt x="338" y="680"/>
                  <a:pt x="340" y="680"/>
                </a:cubicBezTo>
                <a:cubicBezTo>
                  <a:pt x="343" y="680"/>
                  <a:pt x="345" y="680"/>
                  <a:pt x="345" y="680"/>
                </a:cubicBezTo>
                <a:close/>
                <a:moveTo>
                  <a:pt x="334" y="592"/>
                </a:moveTo>
                <a:cubicBezTo>
                  <a:pt x="320" y="592"/>
                  <a:pt x="307" y="590"/>
                  <a:pt x="297" y="588"/>
                </a:cubicBezTo>
                <a:cubicBezTo>
                  <a:pt x="295" y="588"/>
                  <a:pt x="293" y="588"/>
                  <a:pt x="291" y="587"/>
                </a:cubicBezTo>
                <a:cubicBezTo>
                  <a:pt x="289" y="587"/>
                  <a:pt x="287" y="586"/>
                  <a:pt x="285" y="586"/>
                </a:cubicBezTo>
                <a:cubicBezTo>
                  <a:pt x="284" y="586"/>
                  <a:pt x="283" y="586"/>
                  <a:pt x="282" y="585"/>
                </a:cubicBezTo>
                <a:cubicBezTo>
                  <a:pt x="281" y="585"/>
                  <a:pt x="281" y="585"/>
                  <a:pt x="281" y="585"/>
                </a:cubicBezTo>
                <a:cubicBezTo>
                  <a:pt x="281" y="585"/>
                  <a:pt x="279" y="585"/>
                  <a:pt x="277" y="584"/>
                </a:cubicBezTo>
                <a:cubicBezTo>
                  <a:pt x="274" y="583"/>
                  <a:pt x="270" y="582"/>
                  <a:pt x="265" y="581"/>
                </a:cubicBezTo>
                <a:cubicBezTo>
                  <a:pt x="255" y="578"/>
                  <a:pt x="243" y="573"/>
                  <a:pt x="231" y="567"/>
                </a:cubicBezTo>
                <a:cubicBezTo>
                  <a:pt x="225" y="565"/>
                  <a:pt x="219" y="561"/>
                  <a:pt x="214" y="558"/>
                </a:cubicBezTo>
                <a:cubicBezTo>
                  <a:pt x="208" y="555"/>
                  <a:pt x="203" y="552"/>
                  <a:pt x="199" y="549"/>
                </a:cubicBezTo>
                <a:cubicBezTo>
                  <a:pt x="197" y="548"/>
                  <a:pt x="195" y="547"/>
                  <a:pt x="194" y="546"/>
                </a:cubicBezTo>
                <a:cubicBezTo>
                  <a:pt x="192" y="544"/>
                  <a:pt x="191" y="543"/>
                  <a:pt x="189" y="542"/>
                </a:cubicBezTo>
                <a:cubicBezTo>
                  <a:pt x="187" y="541"/>
                  <a:pt x="186" y="540"/>
                  <a:pt x="186" y="540"/>
                </a:cubicBezTo>
                <a:cubicBezTo>
                  <a:pt x="186" y="540"/>
                  <a:pt x="185" y="539"/>
                  <a:pt x="185" y="539"/>
                </a:cubicBezTo>
                <a:cubicBezTo>
                  <a:pt x="184" y="538"/>
                  <a:pt x="183" y="538"/>
                  <a:pt x="182" y="537"/>
                </a:cubicBezTo>
                <a:cubicBezTo>
                  <a:pt x="180" y="535"/>
                  <a:pt x="177" y="532"/>
                  <a:pt x="173" y="529"/>
                </a:cubicBezTo>
                <a:cubicBezTo>
                  <a:pt x="166" y="523"/>
                  <a:pt x="156" y="513"/>
                  <a:pt x="147" y="503"/>
                </a:cubicBezTo>
                <a:cubicBezTo>
                  <a:pt x="139" y="493"/>
                  <a:pt x="131" y="482"/>
                  <a:pt x="126" y="474"/>
                </a:cubicBezTo>
                <a:cubicBezTo>
                  <a:pt x="124" y="472"/>
                  <a:pt x="123" y="470"/>
                  <a:pt x="122" y="468"/>
                </a:cubicBezTo>
                <a:cubicBezTo>
                  <a:pt x="121" y="466"/>
                  <a:pt x="120" y="464"/>
                  <a:pt x="120" y="463"/>
                </a:cubicBezTo>
                <a:cubicBezTo>
                  <a:pt x="119" y="462"/>
                  <a:pt x="118" y="461"/>
                  <a:pt x="118" y="460"/>
                </a:cubicBezTo>
                <a:cubicBezTo>
                  <a:pt x="117" y="460"/>
                  <a:pt x="117" y="459"/>
                  <a:pt x="117" y="459"/>
                </a:cubicBezTo>
                <a:cubicBezTo>
                  <a:pt x="117" y="459"/>
                  <a:pt x="117" y="458"/>
                  <a:pt x="115" y="455"/>
                </a:cubicBezTo>
                <a:cubicBezTo>
                  <a:pt x="114" y="453"/>
                  <a:pt x="112" y="449"/>
                  <a:pt x="110" y="444"/>
                </a:cubicBezTo>
                <a:cubicBezTo>
                  <a:pt x="109" y="442"/>
                  <a:pt x="108" y="440"/>
                  <a:pt x="107" y="437"/>
                </a:cubicBezTo>
                <a:cubicBezTo>
                  <a:pt x="106" y="434"/>
                  <a:pt x="104" y="432"/>
                  <a:pt x="103" y="429"/>
                </a:cubicBezTo>
                <a:cubicBezTo>
                  <a:pt x="102" y="426"/>
                  <a:pt x="101" y="423"/>
                  <a:pt x="100" y="420"/>
                </a:cubicBezTo>
                <a:cubicBezTo>
                  <a:pt x="99" y="417"/>
                  <a:pt x="98" y="413"/>
                  <a:pt x="97" y="410"/>
                </a:cubicBezTo>
                <a:cubicBezTo>
                  <a:pt x="93" y="398"/>
                  <a:pt x="91" y="384"/>
                  <a:pt x="89" y="375"/>
                </a:cubicBezTo>
                <a:cubicBezTo>
                  <a:pt x="88" y="365"/>
                  <a:pt x="87" y="358"/>
                  <a:pt x="87" y="358"/>
                </a:cubicBezTo>
                <a:cubicBezTo>
                  <a:pt x="87" y="358"/>
                  <a:pt x="87" y="356"/>
                  <a:pt x="87" y="354"/>
                </a:cubicBezTo>
                <a:cubicBezTo>
                  <a:pt x="87" y="351"/>
                  <a:pt x="87" y="347"/>
                  <a:pt x="87" y="342"/>
                </a:cubicBezTo>
                <a:cubicBezTo>
                  <a:pt x="87" y="332"/>
                  <a:pt x="87" y="318"/>
                  <a:pt x="89" y="305"/>
                </a:cubicBezTo>
                <a:cubicBezTo>
                  <a:pt x="91" y="292"/>
                  <a:pt x="94" y="279"/>
                  <a:pt x="96" y="269"/>
                </a:cubicBezTo>
                <a:cubicBezTo>
                  <a:pt x="98" y="264"/>
                  <a:pt x="99" y="261"/>
                  <a:pt x="100" y="258"/>
                </a:cubicBezTo>
                <a:cubicBezTo>
                  <a:pt x="100" y="256"/>
                  <a:pt x="101" y="255"/>
                  <a:pt x="101" y="255"/>
                </a:cubicBezTo>
                <a:cubicBezTo>
                  <a:pt x="101" y="254"/>
                  <a:pt x="101" y="253"/>
                  <a:pt x="101" y="253"/>
                </a:cubicBezTo>
                <a:cubicBezTo>
                  <a:pt x="101" y="253"/>
                  <a:pt x="102" y="252"/>
                  <a:pt x="103" y="249"/>
                </a:cubicBezTo>
                <a:cubicBezTo>
                  <a:pt x="103" y="248"/>
                  <a:pt x="104" y="246"/>
                  <a:pt x="105" y="244"/>
                </a:cubicBezTo>
                <a:cubicBezTo>
                  <a:pt x="106" y="242"/>
                  <a:pt x="106" y="240"/>
                  <a:pt x="107" y="238"/>
                </a:cubicBezTo>
                <a:cubicBezTo>
                  <a:pt x="109" y="233"/>
                  <a:pt x="112" y="228"/>
                  <a:pt x="115" y="223"/>
                </a:cubicBezTo>
                <a:cubicBezTo>
                  <a:pt x="118" y="217"/>
                  <a:pt x="121" y="211"/>
                  <a:pt x="124" y="206"/>
                </a:cubicBezTo>
                <a:cubicBezTo>
                  <a:pt x="131" y="194"/>
                  <a:pt x="139" y="183"/>
                  <a:pt x="145" y="176"/>
                </a:cubicBezTo>
                <a:cubicBezTo>
                  <a:pt x="149" y="172"/>
                  <a:pt x="151" y="169"/>
                  <a:pt x="153" y="167"/>
                </a:cubicBezTo>
                <a:cubicBezTo>
                  <a:pt x="155" y="165"/>
                  <a:pt x="156" y="164"/>
                  <a:pt x="156" y="164"/>
                </a:cubicBezTo>
                <a:cubicBezTo>
                  <a:pt x="156" y="164"/>
                  <a:pt x="158" y="162"/>
                  <a:pt x="160" y="160"/>
                </a:cubicBezTo>
                <a:cubicBezTo>
                  <a:pt x="162" y="158"/>
                  <a:pt x="165" y="155"/>
                  <a:pt x="168" y="152"/>
                </a:cubicBezTo>
                <a:cubicBezTo>
                  <a:pt x="176" y="145"/>
                  <a:pt x="186" y="137"/>
                  <a:pt x="197" y="129"/>
                </a:cubicBezTo>
                <a:cubicBezTo>
                  <a:pt x="208" y="122"/>
                  <a:pt x="220" y="115"/>
                  <a:pt x="229" y="111"/>
                </a:cubicBezTo>
                <a:cubicBezTo>
                  <a:pt x="233" y="108"/>
                  <a:pt x="237" y="107"/>
                  <a:pt x="239" y="106"/>
                </a:cubicBezTo>
                <a:cubicBezTo>
                  <a:pt x="242" y="104"/>
                  <a:pt x="244" y="104"/>
                  <a:pt x="244" y="104"/>
                </a:cubicBezTo>
                <a:cubicBezTo>
                  <a:pt x="244" y="104"/>
                  <a:pt x="245" y="103"/>
                  <a:pt x="248" y="102"/>
                </a:cubicBezTo>
                <a:cubicBezTo>
                  <a:pt x="251" y="101"/>
                  <a:pt x="254" y="99"/>
                  <a:pt x="259" y="98"/>
                </a:cubicBezTo>
                <a:cubicBezTo>
                  <a:pt x="269" y="95"/>
                  <a:pt x="281" y="91"/>
                  <a:pt x="294" y="89"/>
                </a:cubicBezTo>
                <a:cubicBezTo>
                  <a:pt x="301" y="87"/>
                  <a:pt x="308" y="87"/>
                  <a:pt x="314" y="86"/>
                </a:cubicBezTo>
                <a:cubicBezTo>
                  <a:pt x="320" y="85"/>
                  <a:pt x="326" y="85"/>
                  <a:pt x="331" y="85"/>
                </a:cubicBezTo>
                <a:cubicBezTo>
                  <a:pt x="333" y="85"/>
                  <a:pt x="336" y="85"/>
                  <a:pt x="338" y="85"/>
                </a:cubicBezTo>
                <a:cubicBezTo>
                  <a:pt x="340" y="85"/>
                  <a:pt x="341" y="85"/>
                  <a:pt x="343" y="85"/>
                </a:cubicBezTo>
                <a:cubicBezTo>
                  <a:pt x="346" y="85"/>
                  <a:pt x="347" y="85"/>
                  <a:pt x="347" y="85"/>
                </a:cubicBezTo>
                <a:cubicBezTo>
                  <a:pt x="347" y="85"/>
                  <a:pt x="348" y="85"/>
                  <a:pt x="349" y="85"/>
                </a:cubicBezTo>
                <a:cubicBezTo>
                  <a:pt x="349" y="85"/>
                  <a:pt x="350" y="85"/>
                  <a:pt x="352" y="85"/>
                </a:cubicBezTo>
                <a:cubicBezTo>
                  <a:pt x="355" y="85"/>
                  <a:pt x="359" y="85"/>
                  <a:pt x="364" y="86"/>
                </a:cubicBezTo>
                <a:cubicBezTo>
                  <a:pt x="374" y="87"/>
                  <a:pt x="387" y="89"/>
                  <a:pt x="400" y="92"/>
                </a:cubicBezTo>
                <a:cubicBezTo>
                  <a:pt x="413" y="95"/>
                  <a:pt x="426" y="99"/>
                  <a:pt x="435" y="103"/>
                </a:cubicBezTo>
                <a:cubicBezTo>
                  <a:pt x="439" y="105"/>
                  <a:pt x="443" y="106"/>
                  <a:pt x="446" y="107"/>
                </a:cubicBezTo>
                <a:cubicBezTo>
                  <a:pt x="449" y="109"/>
                  <a:pt x="450" y="109"/>
                  <a:pt x="450" y="109"/>
                </a:cubicBezTo>
                <a:cubicBezTo>
                  <a:pt x="450" y="109"/>
                  <a:pt x="456" y="112"/>
                  <a:pt x="465" y="117"/>
                </a:cubicBezTo>
                <a:cubicBezTo>
                  <a:pt x="473" y="122"/>
                  <a:pt x="485" y="129"/>
                  <a:pt x="495" y="137"/>
                </a:cubicBezTo>
                <a:cubicBezTo>
                  <a:pt x="498" y="139"/>
                  <a:pt x="500" y="141"/>
                  <a:pt x="503" y="143"/>
                </a:cubicBezTo>
                <a:cubicBezTo>
                  <a:pt x="505" y="145"/>
                  <a:pt x="508" y="147"/>
                  <a:pt x="510" y="150"/>
                </a:cubicBezTo>
                <a:cubicBezTo>
                  <a:pt x="512" y="152"/>
                  <a:pt x="515" y="154"/>
                  <a:pt x="517" y="156"/>
                </a:cubicBezTo>
                <a:cubicBezTo>
                  <a:pt x="519" y="158"/>
                  <a:pt x="521" y="160"/>
                  <a:pt x="522" y="161"/>
                </a:cubicBezTo>
                <a:cubicBezTo>
                  <a:pt x="526" y="165"/>
                  <a:pt x="529" y="168"/>
                  <a:pt x="531" y="170"/>
                </a:cubicBezTo>
                <a:cubicBezTo>
                  <a:pt x="533" y="172"/>
                  <a:pt x="534" y="174"/>
                  <a:pt x="534" y="174"/>
                </a:cubicBezTo>
                <a:cubicBezTo>
                  <a:pt x="534" y="174"/>
                  <a:pt x="534" y="174"/>
                  <a:pt x="534" y="175"/>
                </a:cubicBezTo>
                <a:cubicBezTo>
                  <a:pt x="535" y="175"/>
                  <a:pt x="536" y="176"/>
                  <a:pt x="537" y="177"/>
                </a:cubicBezTo>
                <a:cubicBezTo>
                  <a:pt x="537" y="178"/>
                  <a:pt x="539" y="180"/>
                  <a:pt x="540" y="181"/>
                </a:cubicBezTo>
                <a:cubicBezTo>
                  <a:pt x="541" y="183"/>
                  <a:pt x="543" y="185"/>
                  <a:pt x="544" y="187"/>
                </a:cubicBezTo>
                <a:cubicBezTo>
                  <a:pt x="550" y="195"/>
                  <a:pt x="557" y="206"/>
                  <a:pt x="564" y="218"/>
                </a:cubicBezTo>
                <a:cubicBezTo>
                  <a:pt x="570" y="229"/>
                  <a:pt x="575" y="241"/>
                  <a:pt x="579" y="251"/>
                </a:cubicBezTo>
                <a:cubicBezTo>
                  <a:pt x="580" y="255"/>
                  <a:pt x="582" y="259"/>
                  <a:pt x="583" y="262"/>
                </a:cubicBezTo>
                <a:cubicBezTo>
                  <a:pt x="583" y="264"/>
                  <a:pt x="583" y="265"/>
                  <a:pt x="584" y="265"/>
                </a:cubicBezTo>
                <a:cubicBezTo>
                  <a:pt x="584" y="266"/>
                  <a:pt x="584" y="267"/>
                  <a:pt x="584" y="267"/>
                </a:cubicBezTo>
                <a:cubicBezTo>
                  <a:pt x="584" y="267"/>
                  <a:pt x="584" y="268"/>
                  <a:pt x="585" y="271"/>
                </a:cubicBezTo>
                <a:cubicBezTo>
                  <a:pt x="586" y="272"/>
                  <a:pt x="586" y="274"/>
                  <a:pt x="587" y="276"/>
                </a:cubicBezTo>
                <a:cubicBezTo>
                  <a:pt x="587" y="278"/>
                  <a:pt x="588" y="280"/>
                  <a:pt x="588" y="283"/>
                </a:cubicBezTo>
                <a:cubicBezTo>
                  <a:pt x="589" y="287"/>
                  <a:pt x="590" y="293"/>
                  <a:pt x="591" y="299"/>
                </a:cubicBezTo>
                <a:cubicBezTo>
                  <a:pt x="592" y="305"/>
                  <a:pt x="593" y="312"/>
                  <a:pt x="594" y="319"/>
                </a:cubicBezTo>
                <a:cubicBezTo>
                  <a:pt x="595" y="332"/>
                  <a:pt x="595" y="345"/>
                  <a:pt x="594" y="355"/>
                </a:cubicBezTo>
                <a:cubicBezTo>
                  <a:pt x="593" y="360"/>
                  <a:pt x="593" y="364"/>
                  <a:pt x="593" y="367"/>
                </a:cubicBezTo>
                <a:cubicBezTo>
                  <a:pt x="592" y="370"/>
                  <a:pt x="592" y="372"/>
                  <a:pt x="592" y="372"/>
                </a:cubicBezTo>
                <a:cubicBezTo>
                  <a:pt x="592" y="372"/>
                  <a:pt x="592" y="372"/>
                  <a:pt x="592" y="373"/>
                </a:cubicBezTo>
                <a:cubicBezTo>
                  <a:pt x="592" y="374"/>
                  <a:pt x="592" y="375"/>
                  <a:pt x="591" y="376"/>
                </a:cubicBezTo>
                <a:cubicBezTo>
                  <a:pt x="591" y="378"/>
                  <a:pt x="591" y="379"/>
                  <a:pt x="591" y="381"/>
                </a:cubicBezTo>
                <a:cubicBezTo>
                  <a:pt x="590" y="383"/>
                  <a:pt x="590" y="386"/>
                  <a:pt x="589" y="388"/>
                </a:cubicBezTo>
                <a:cubicBezTo>
                  <a:pt x="588" y="398"/>
                  <a:pt x="584" y="411"/>
                  <a:pt x="580" y="423"/>
                </a:cubicBezTo>
                <a:cubicBezTo>
                  <a:pt x="575" y="436"/>
                  <a:pt x="570" y="448"/>
                  <a:pt x="565" y="457"/>
                </a:cubicBezTo>
                <a:cubicBezTo>
                  <a:pt x="563" y="461"/>
                  <a:pt x="561" y="465"/>
                  <a:pt x="559" y="467"/>
                </a:cubicBezTo>
                <a:cubicBezTo>
                  <a:pt x="558" y="470"/>
                  <a:pt x="557" y="471"/>
                  <a:pt x="557" y="471"/>
                </a:cubicBezTo>
                <a:cubicBezTo>
                  <a:pt x="557" y="471"/>
                  <a:pt x="556" y="473"/>
                  <a:pt x="554" y="475"/>
                </a:cubicBezTo>
                <a:cubicBezTo>
                  <a:pt x="553" y="478"/>
                  <a:pt x="550" y="481"/>
                  <a:pt x="548" y="485"/>
                </a:cubicBezTo>
                <a:cubicBezTo>
                  <a:pt x="542" y="493"/>
                  <a:pt x="534" y="504"/>
                  <a:pt x="525" y="513"/>
                </a:cubicBezTo>
                <a:cubicBezTo>
                  <a:pt x="515" y="523"/>
                  <a:pt x="505" y="532"/>
                  <a:pt x="497" y="538"/>
                </a:cubicBezTo>
                <a:cubicBezTo>
                  <a:pt x="496" y="539"/>
                  <a:pt x="496" y="539"/>
                  <a:pt x="495" y="540"/>
                </a:cubicBezTo>
                <a:cubicBezTo>
                  <a:pt x="494" y="541"/>
                  <a:pt x="493" y="541"/>
                  <a:pt x="492" y="542"/>
                </a:cubicBezTo>
                <a:cubicBezTo>
                  <a:pt x="490" y="543"/>
                  <a:pt x="489" y="544"/>
                  <a:pt x="488" y="545"/>
                </a:cubicBezTo>
                <a:cubicBezTo>
                  <a:pt x="485" y="547"/>
                  <a:pt x="484" y="548"/>
                  <a:pt x="484" y="548"/>
                </a:cubicBezTo>
                <a:cubicBezTo>
                  <a:pt x="484" y="548"/>
                  <a:pt x="483" y="549"/>
                  <a:pt x="480" y="550"/>
                </a:cubicBezTo>
                <a:cubicBezTo>
                  <a:pt x="479" y="551"/>
                  <a:pt x="478" y="552"/>
                  <a:pt x="476" y="553"/>
                </a:cubicBezTo>
                <a:cubicBezTo>
                  <a:pt x="475" y="554"/>
                  <a:pt x="474" y="554"/>
                  <a:pt x="473" y="555"/>
                </a:cubicBezTo>
                <a:cubicBezTo>
                  <a:pt x="472" y="555"/>
                  <a:pt x="471" y="556"/>
                  <a:pt x="470" y="557"/>
                </a:cubicBezTo>
                <a:cubicBezTo>
                  <a:pt x="461" y="562"/>
                  <a:pt x="450" y="568"/>
                  <a:pt x="437" y="573"/>
                </a:cubicBezTo>
                <a:cubicBezTo>
                  <a:pt x="425" y="578"/>
                  <a:pt x="412" y="582"/>
                  <a:pt x="403" y="585"/>
                </a:cubicBezTo>
                <a:cubicBezTo>
                  <a:pt x="398" y="586"/>
                  <a:pt x="394" y="587"/>
                  <a:pt x="391" y="587"/>
                </a:cubicBezTo>
                <a:cubicBezTo>
                  <a:pt x="388" y="588"/>
                  <a:pt x="387" y="588"/>
                  <a:pt x="387" y="588"/>
                </a:cubicBezTo>
                <a:cubicBezTo>
                  <a:pt x="387" y="588"/>
                  <a:pt x="385" y="588"/>
                  <a:pt x="382" y="589"/>
                </a:cubicBezTo>
                <a:cubicBezTo>
                  <a:pt x="379" y="589"/>
                  <a:pt x="375" y="590"/>
                  <a:pt x="370" y="591"/>
                </a:cubicBezTo>
                <a:cubicBezTo>
                  <a:pt x="360" y="592"/>
                  <a:pt x="347" y="593"/>
                  <a:pt x="334" y="592"/>
                </a:cubicBezTo>
                <a:close/>
              </a:path>
            </a:pathLst>
          </a:custGeom>
          <a:solidFill>
            <a:schemeClr val="accent1"/>
          </a:solidFill>
          <a:ln>
            <a:solidFill>
              <a:schemeClr val="accent1">
                <a:lumMod val="75000"/>
              </a:schemeClr>
            </a:solidFill>
          </a:ln>
        </p:spPr>
        <p:txBody>
          <a:bodyPr vert="horz" wrap="square" lIns="91440" tIns="45720" rIns="91440" bIns="45720" numCol="1" anchor="t" anchorCtr="0" compatLnSpc="1">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0" name="íṥḷïḑè"/>
          <p:cNvSpPr/>
          <p:nvPr/>
        </p:nvSpPr>
        <p:spPr bwMode="auto">
          <a:xfrm>
            <a:off x="7074439" y="3579984"/>
            <a:ext cx="1766241" cy="1768487"/>
          </a:xfrm>
          <a:custGeom>
            <a:avLst/>
            <a:gdLst>
              <a:gd name="T0" fmla="*/ 413 w 714"/>
              <a:gd name="T1" fmla="*/ 709 h 714"/>
              <a:gd name="T2" fmla="*/ 455 w 714"/>
              <a:gd name="T3" fmla="*/ 706 h 714"/>
              <a:gd name="T4" fmla="*/ 482 w 714"/>
              <a:gd name="T5" fmla="*/ 644 h 714"/>
              <a:gd name="T6" fmla="*/ 528 w 714"/>
              <a:gd name="T7" fmla="*/ 619 h 714"/>
              <a:gd name="T8" fmla="*/ 594 w 714"/>
              <a:gd name="T9" fmla="*/ 631 h 714"/>
              <a:gd name="T10" fmla="*/ 620 w 714"/>
              <a:gd name="T11" fmla="*/ 606 h 714"/>
              <a:gd name="T12" fmla="*/ 608 w 714"/>
              <a:gd name="T13" fmla="*/ 554 h 714"/>
              <a:gd name="T14" fmla="*/ 625 w 714"/>
              <a:gd name="T15" fmla="*/ 519 h 714"/>
              <a:gd name="T16" fmla="*/ 690 w 714"/>
              <a:gd name="T17" fmla="*/ 484 h 714"/>
              <a:gd name="T18" fmla="*/ 690 w 714"/>
              <a:gd name="T19" fmla="*/ 415 h 714"/>
              <a:gd name="T20" fmla="*/ 670 w 714"/>
              <a:gd name="T21" fmla="*/ 360 h 714"/>
              <a:gd name="T22" fmla="*/ 680 w 714"/>
              <a:gd name="T23" fmla="*/ 322 h 714"/>
              <a:gd name="T24" fmla="*/ 713 w 714"/>
              <a:gd name="T25" fmla="*/ 287 h 714"/>
              <a:gd name="T26" fmla="*/ 696 w 714"/>
              <a:gd name="T27" fmla="*/ 245 h 714"/>
              <a:gd name="T28" fmla="*/ 638 w 714"/>
              <a:gd name="T29" fmla="*/ 219 h 714"/>
              <a:gd name="T30" fmla="*/ 617 w 714"/>
              <a:gd name="T31" fmla="*/ 171 h 714"/>
              <a:gd name="T32" fmla="*/ 619 w 714"/>
              <a:gd name="T33" fmla="*/ 106 h 714"/>
              <a:gd name="T34" fmla="*/ 588 w 714"/>
              <a:gd name="T35" fmla="*/ 92 h 714"/>
              <a:gd name="T36" fmla="*/ 540 w 714"/>
              <a:gd name="T37" fmla="*/ 102 h 714"/>
              <a:gd name="T38" fmla="*/ 495 w 714"/>
              <a:gd name="T39" fmla="*/ 76 h 714"/>
              <a:gd name="T40" fmla="*/ 459 w 714"/>
              <a:gd name="T41" fmla="*/ 9 h 714"/>
              <a:gd name="T42" fmla="*/ 392 w 714"/>
              <a:gd name="T43" fmla="*/ 45 h 714"/>
              <a:gd name="T44" fmla="*/ 341 w 714"/>
              <a:gd name="T45" fmla="*/ 44 h 714"/>
              <a:gd name="T46" fmla="*/ 305 w 714"/>
              <a:gd name="T47" fmla="*/ 10 h 714"/>
              <a:gd name="T48" fmla="*/ 271 w 714"/>
              <a:gd name="T49" fmla="*/ 4 h 714"/>
              <a:gd name="T50" fmla="*/ 239 w 714"/>
              <a:gd name="T51" fmla="*/ 60 h 714"/>
              <a:gd name="T52" fmla="*/ 195 w 714"/>
              <a:gd name="T53" fmla="*/ 89 h 714"/>
              <a:gd name="T54" fmla="*/ 132 w 714"/>
              <a:gd name="T55" fmla="*/ 80 h 714"/>
              <a:gd name="T56" fmla="*/ 95 w 714"/>
              <a:gd name="T57" fmla="*/ 106 h 714"/>
              <a:gd name="T58" fmla="*/ 104 w 714"/>
              <a:gd name="T59" fmla="*/ 153 h 714"/>
              <a:gd name="T60" fmla="*/ 92 w 714"/>
              <a:gd name="T61" fmla="*/ 190 h 714"/>
              <a:gd name="T62" fmla="*/ 45 w 714"/>
              <a:gd name="T63" fmla="*/ 226 h 714"/>
              <a:gd name="T64" fmla="*/ 8 w 714"/>
              <a:gd name="T65" fmla="*/ 284 h 714"/>
              <a:gd name="T66" fmla="*/ 44 w 714"/>
              <a:gd name="T67" fmla="*/ 349 h 714"/>
              <a:gd name="T68" fmla="*/ 39 w 714"/>
              <a:gd name="T69" fmla="*/ 388 h 714"/>
              <a:gd name="T70" fmla="*/ 1 w 714"/>
              <a:gd name="T71" fmla="*/ 425 h 714"/>
              <a:gd name="T72" fmla="*/ 9 w 714"/>
              <a:gd name="T73" fmla="*/ 460 h 714"/>
              <a:gd name="T74" fmla="*/ 72 w 714"/>
              <a:gd name="T75" fmla="*/ 486 h 714"/>
              <a:gd name="T76" fmla="*/ 97 w 714"/>
              <a:gd name="T77" fmla="*/ 531 h 714"/>
              <a:gd name="T78" fmla="*/ 86 w 714"/>
              <a:gd name="T79" fmla="*/ 598 h 714"/>
              <a:gd name="T80" fmla="*/ 120 w 714"/>
              <a:gd name="T81" fmla="*/ 623 h 714"/>
              <a:gd name="T82" fmla="*/ 171 w 714"/>
              <a:gd name="T83" fmla="*/ 609 h 714"/>
              <a:gd name="T84" fmla="*/ 206 w 714"/>
              <a:gd name="T85" fmla="*/ 631 h 714"/>
              <a:gd name="T86" fmla="*/ 238 w 714"/>
              <a:gd name="T87" fmla="*/ 699 h 714"/>
              <a:gd name="T88" fmla="*/ 311 w 714"/>
              <a:gd name="T89" fmla="*/ 673 h 714"/>
              <a:gd name="T90" fmla="*/ 364 w 714"/>
              <a:gd name="T91" fmla="*/ 670 h 714"/>
              <a:gd name="T92" fmla="*/ 346 w 714"/>
              <a:gd name="T93" fmla="*/ 606 h 714"/>
              <a:gd name="T94" fmla="*/ 227 w 714"/>
              <a:gd name="T95" fmla="*/ 569 h 714"/>
              <a:gd name="T96" fmla="*/ 144 w 714"/>
              <a:gd name="T97" fmla="*/ 487 h 714"/>
              <a:gd name="T98" fmla="*/ 129 w 714"/>
              <a:gd name="T99" fmla="*/ 458 h 714"/>
              <a:gd name="T100" fmla="*/ 108 w 714"/>
              <a:gd name="T101" fmla="*/ 345 h 714"/>
              <a:gd name="T102" fmla="*/ 144 w 714"/>
              <a:gd name="T103" fmla="*/ 227 h 714"/>
              <a:gd name="T104" fmla="*/ 227 w 714"/>
              <a:gd name="T105" fmla="*/ 144 h 714"/>
              <a:gd name="T106" fmla="*/ 256 w 714"/>
              <a:gd name="T107" fmla="*/ 129 h 714"/>
              <a:gd name="T108" fmla="*/ 368 w 714"/>
              <a:gd name="T109" fmla="*/ 108 h 714"/>
              <a:gd name="T110" fmla="*/ 487 w 714"/>
              <a:gd name="T111" fmla="*/ 144 h 714"/>
              <a:gd name="T112" fmla="*/ 570 w 714"/>
              <a:gd name="T113" fmla="*/ 227 h 714"/>
              <a:gd name="T114" fmla="*/ 585 w 714"/>
              <a:gd name="T115" fmla="*/ 255 h 714"/>
              <a:gd name="T116" fmla="*/ 606 w 714"/>
              <a:gd name="T117" fmla="*/ 368 h 714"/>
              <a:gd name="T118" fmla="*/ 570 w 714"/>
              <a:gd name="T119" fmla="*/ 486 h 714"/>
              <a:gd name="T120" fmla="*/ 487 w 714"/>
              <a:gd name="T121" fmla="*/ 569 h 714"/>
              <a:gd name="T122" fmla="*/ 458 w 714"/>
              <a:gd name="T123" fmla="*/ 58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4" h="714">
                <a:moveTo>
                  <a:pt x="388" y="674"/>
                </a:moveTo>
                <a:cubicBezTo>
                  <a:pt x="388" y="674"/>
                  <a:pt x="390" y="677"/>
                  <a:pt x="392" y="680"/>
                </a:cubicBezTo>
                <a:cubicBezTo>
                  <a:pt x="394" y="683"/>
                  <a:pt x="397" y="687"/>
                  <a:pt x="400" y="692"/>
                </a:cubicBezTo>
                <a:cubicBezTo>
                  <a:pt x="403" y="696"/>
                  <a:pt x="407" y="700"/>
                  <a:pt x="409" y="704"/>
                </a:cubicBezTo>
                <a:cubicBezTo>
                  <a:pt x="412" y="707"/>
                  <a:pt x="413" y="709"/>
                  <a:pt x="413" y="709"/>
                </a:cubicBezTo>
                <a:cubicBezTo>
                  <a:pt x="416" y="712"/>
                  <a:pt x="421" y="714"/>
                  <a:pt x="425" y="713"/>
                </a:cubicBezTo>
                <a:cubicBezTo>
                  <a:pt x="425" y="713"/>
                  <a:pt x="426" y="713"/>
                  <a:pt x="427" y="712"/>
                </a:cubicBezTo>
                <a:cubicBezTo>
                  <a:pt x="428" y="712"/>
                  <a:pt x="429" y="712"/>
                  <a:pt x="431" y="712"/>
                </a:cubicBezTo>
                <a:cubicBezTo>
                  <a:pt x="434" y="711"/>
                  <a:pt x="438" y="710"/>
                  <a:pt x="443" y="709"/>
                </a:cubicBezTo>
                <a:cubicBezTo>
                  <a:pt x="447" y="708"/>
                  <a:pt x="451" y="707"/>
                  <a:pt x="455" y="706"/>
                </a:cubicBezTo>
                <a:cubicBezTo>
                  <a:pt x="458" y="705"/>
                  <a:pt x="460" y="704"/>
                  <a:pt x="460" y="704"/>
                </a:cubicBezTo>
                <a:cubicBezTo>
                  <a:pt x="465" y="703"/>
                  <a:pt x="468" y="699"/>
                  <a:pt x="469" y="695"/>
                </a:cubicBezTo>
                <a:cubicBezTo>
                  <a:pt x="469" y="695"/>
                  <a:pt x="471" y="685"/>
                  <a:pt x="473" y="674"/>
                </a:cubicBezTo>
                <a:cubicBezTo>
                  <a:pt x="474" y="663"/>
                  <a:pt x="475" y="653"/>
                  <a:pt x="475" y="653"/>
                </a:cubicBezTo>
                <a:cubicBezTo>
                  <a:pt x="476" y="649"/>
                  <a:pt x="479" y="646"/>
                  <a:pt x="482" y="644"/>
                </a:cubicBezTo>
                <a:cubicBezTo>
                  <a:pt x="482" y="644"/>
                  <a:pt x="484" y="643"/>
                  <a:pt x="486" y="642"/>
                </a:cubicBezTo>
                <a:cubicBezTo>
                  <a:pt x="489" y="641"/>
                  <a:pt x="492" y="640"/>
                  <a:pt x="495" y="638"/>
                </a:cubicBezTo>
                <a:cubicBezTo>
                  <a:pt x="501" y="635"/>
                  <a:pt x="507" y="632"/>
                  <a:pt x="507" y="632"/>
                </a:cubicBezTo>
                <a:cubicBezTo>
                  <a:pt x="507" y="632"/>
                  <a:pt x="513" y="628"/>
                  <a:pt x="519" y="625"/>
                </a:cubicBezTo>
                <a:cubicBezTo>
                  <a:pt x="522" y="623"/>
                  <a:pt x="525" y="621"/>
                  <a:pt x="528" y="619"/>
                </a:cubicBezTo>
                <a:cubicBezTo>
                  <a:pt x="530" y="618"/>
                  <a:pt x="531" y="617"/>
                  <a:pt x="531" y="617"/>
                </a:cubicBezTo>
                <a:cubicBezTo>
                  <a:pt x="535" y="615"/>
                  <a:pt x="539" y="614"/>
                  <a:pt x="543" y="616"/>
                </a:cubicBezTo>
                <a:cubicBezTo>
                  <a:pt x="543" y="616"/>
                  <a:pt x="552" y="621"/>
                  <a:pt x="562" y="625"/>
                </a:cubicBezTo>
                <a:cubicBezTo>
                  <a:pt x="572" y="630"/>
                  <a:pt x="582" y="634"/>
                  <a:pt x="582" y="634"/>
                </a:cubicBezTo>
                <a:cubicBezTo>
                  <a:pt x="586" y="635"/>
                  <a:pt x="591" y="634"/>
                  <a:pt x="594" y="631"/>
                </a:cubicBezTo>
                <a:cubicBezTo>
                  <a:pt x="594" y="631"/>
                  <a:pt x="596" y="629"/>
                  <a:pt x="598" y="627"/>
                </a:cubicBezTo>
                <a:cubicBezTo>
                  <a:pt x="601" y="625"/>
                  <a:pt x="604" y="622"/>
                  <a:pt x="607" y="619"/>
                </a:cubicBezTo>
                <a:cubicBezTo>
                  <a:pt x="611" y="616"/>
                  <a:pt x="614" y="613"/>
                  <a:pt x="616" y="610"/>
                </a:cubicBezTo>
                <a:cubicBezTo>
                  <a:pt x="617" y="609"/>
                  <a:pt x="618" y="608"/>
                  <a:pt x="619" y="607"/>
                </a:cubicBezTo>
                <a:cubicBezTo>
                  <a:pt x="620" y="607"/>
                  <a:pt x="620" y="606"/>
                  <a:pt x="620" y="606"/>
                </a:cubicBezTo>
                <a:cubicBezTo>
                  <a:pt x="623" y="603"/>
                  <a:pt x="625" y="598"/>
                  <a:pt x="623" y="594"/>
                </a:cubicBezTo>
                <a:cubicBezTo>
                  <a:pt x="623" y="594"/>
                  <a:pt x="623" y="591"/>
                  <a:pt x="621" y="588"/>
                </a:cubicBezTo>
                <a:cubicBezTo>
                  <a:pt x="620" y="584"/>
                  <a:pt x="618" y="579"/>
                  <a:pt x="616" y="574"/>
                </a:cubicBezTo>
                <a:cubicBezTo>
                  <a:pt x="614" y="569"/>
                  <a:pt x="612" y="564"/>
                  <a:pt x="611" y="560"/>
                </a:cubicBezTo>
                <a:cubicBezTo>
                  <a:pt x="609" y="557"/>
                  <a:pt x="608" y="554"/>
                  <a:pt x="608" y="554"/>
                </a:cubicBezTo>
                <a:cubicBezTo>
                  <a:pt x="606" y="550"/>
                  <a:pt x="607" y="546"/>
                  <a:pt x="609" y="543"/>
                </a:cubicBezTo>
                <a:cubicBezTo>
                  <a:pt x="609" y="543"/>
                  <a:pt x="610" y="541"/>
                  <a:pt x="612" y="539"/>
                </a:cubicBezTo>
                <a:cubicBezTo>
                  <a:pt x="613" y="537"/>
                  <a:pt x="615" y="534"/>
                  <a:pt x="617" y="531"/>
                </a:cubicBezTo>
                <a:cubicBezTo>
                  <a:pt x="619" y="528"/>
                  <a:pt x="621" y="525"/>
                  <a:pt x="622" y="523"/>
                </a:cubicBezTo>
                <a:cubicBezTo>
                  <a:pt x="624" y="521"/>
                  <a:pt x="625" y="519"/>
                  <a:pt x="625" y="519"/>
                </a:cubicBezTo>
                <a:cubicBezTo>
                  <a:pt x="625" y="519"/>
                  <a:pt x="628" y="514"/>
                  <a:pt x="632" y="507"/>
                </a:cubicBezTo>
                <a:cubicBezTo>
                  <a:pt x="635" y="501"/>
                  <a:pt x="638" y="495"/>
                  <a:pt x="638" y="495"/>
                </a:cubicBezTo>
                <a:cubicBezTo>
                  <a:pt x="640" y="491"/>
                  <a:pt x="644" y="489"/>
                  <a:pt x="648" y="489"/>
                </a:cubicBezTo>
                <a:cubicBezTo>
                  <a:pt x="648" y="489"/>
                  <a:pt x="658" y="488"/>
                  <a:pt x="669" y="487"/>
                </a:cubicBezTo>
                <a:cubicBezTo>
                  <a:pt x="680" y="486"/>
                  <a:pt x="690" y="484"/>
                  <a:pt x="690" y="484"/>
                </a:cubicBezTo>
                <a:cubicBezTo>
                  <a:pt x="694" y="483"/>
                  <a:pt x="698" y="480"/>
                  <a:pt x="700" y="475"/>
                </a:cubicBezTo>
                <a:cubicBezTo>
                  <a:pt x="700" y="475"/>
                  <a:pt x="702" y="467"/>
                  <a:pt x="705" y="459"/>
                </a:cubicBezTo>
                <a:cubicBezTo>
                  <a:pt x="707" y="450"/>
                  <a:pt x="710" y="441"/>
                  <a:pt x="710" y="441"/>
                </a:cubicBezTo>
                <a:cubicBezTo>
                  <a:pt x="711" y="437"/>
                  <a:pt x="709" y="432"/>
                  <a:pt x="706" y="429"/>
                </a:cubicBezTo>
                <a:cubicBezTo>
                  <a:pt x="706" y="429"/>
                  <a:pt x="698" y="422"/>
                  <a:pt x="690" y="415"/>
                </a:cubicBezTo>
                <a:cubicBezTo>
                  <a:pt x="681" y="408"/>
                  <a:pt x="673" y="402"/>
                  <a:pt x="673" y="402"/>
                </a:cubicBezTo>
                <a:cubicBezTo>
                  <a:pt x="670" y="400"/>
                  <a:pt x="668" y="396"/>
                  <a:pt x="668" y="392"/>
                </a:cubicBezTo>
                <a:cubicBezTo>
                  <a:pt x="668" y="392"/>
                  <a:pt x="669" y="385"/>
                  <a:pt x="670" y="378"/>
                </a:cubicBezTo>
                <a:cubicBezTo>
                  <a:pt x="670" y="371"/>
                  <a:pt x="670" y="364"/>
                  <a:pt x="670" y="364"/>
                </a:cubicBezTo>
                <a:cubicBezTo>
                  <a:pt x="670" y="364"/>
                  <a:pt x="670" y="362"/>
                  <a:pt x="670" y="360"/>
                </a:cubicBezTo>
                <a:cubicBezTo>
                  <a:pt x="670" y="357"/>
                  <a:pt x="670" y="353"/>
                  <a:pt x="670" y="350"/>
                </a:cubicBezTo>
                <a:cubicBezTo>
                  <a:pt x="670" y="346"/>
                  <a:pt x="670" y="343"/>
                  <a:pt x="670" y="340"/>
                </a:cubicBezTo>
                <a:cubicBezTo>
                  <a:pt x="670" y="338"/>
                  <a:pt x="670" y="336"/>
                  <a:pt x="670" y="336"/>
                </a:cubicBezTo>
                <a:cubicBezTo>
                  <a:pt x="669" y="332"/>
                  <a:pt x="671" y="328"/>
                  <a:pt x="675" y="326"/>
                </a:cubicBezTo>
                <a:cubicBezTo>
                  <a:pt x="675" y="326"/>
                  <a:pt x="677" y="324"/>
                  <a:pt x="680" y="322"/>
                </a:cubicBezTo>
                <a:cubicBezTo>
                  <a:pt x="684" y="320"/>
                  <a:pt x="688" y="317"/>
                  <a:pt x="692" y="314"/>
                </a:cubicBezTo>
                <a:cubicBezTo>
                  <a:pt x="697" y="310"/>
                  <a:pt x="701" y="307"/>
                  <a:pt x="704" y="305"/>
                </a:cubicBezTo>
                <a:cubicBezTo>
                  <a:pt x="707" y="302"/>
                  <a:pt x="709" y="300"/>
                  <a:pt x="709" y="300"/>
                </a:cubicBezTo>
                <a:cubicBezTo>
                  <a:pt x="713" y="298"/>
                  <a:pt x="714" y="293"/>
                  <a:pt x="713" y="288"/>
                </a:cubicBezTo>
                <a:cubicBezTo>
                  <a:pt x="713" y="288"/>
                  <a:pt x="713" y="288"/>
                  <a:pt x="713" y="287"/>
                </a:cubicBezTo>
                <a:cubicBezTo>
                  <a:pt x="713" y="286"/>
                  <a:pt x="712" y="284"/>
                  <a:pt x="712" y="283"/>
                </a:cubicBezTo>
                <a:cubicBezTo>
                  <a:pt x="711" y="280"/>
                  <a:pt x="710" y="275"/>
                  <a:pt x="709" y="271"/>
                </a:cubicBezTo>
                <a:cubicBezTo>
                  <a:pt x="708" y="266"/>
                  <a:pt x="707" y="262"/>
                  <a:pt x="706" y="259"/>
                </a:cubicBezTo>
                <a:cubicBezTo>
                  <a:pt x="705" y="256"/>
                  <a:pt x="705" y="254"/>
                  <a:pt x="705" y="254"/>
                </a:cubicBezTo>
                <a:cubicBezTo>
                  <a:pt x="704" y="249"/>
                  <a:pt x="700" y="246"/>
                  <a:pt x="696" y="245"/>
                </a:cubicBezTo>
                <a:cubicBezTo>
                  <a:pt x="696" y="245"/>
                  <a:pt x="685" y="242"/>
                  <a:pt x="675" y="241"/>
                </a:cubicBezTo>
                <a:cubicBezTo>
                  <a:pt x="664" y="239"/>
                  <a:pt x="653" y="238"/>
                  <a:pt x="653" y="238"/>
                </a:cubicBezTo>
                <a:cubicBezTo>
                  <a:pt x="649" y="238"/>
                  <a:pt x="646" y="235"/>
                  <a:pt x="644" y="231"/>
                </a:cubicBezTo>
                <a:cubicBezTo>
                  <a:pt x="644" y="231"/>
                  <a:pt x="643" y="230"/>
                  <a:pt x="642" y="227"/>
                </a:cubicBezTo>
                <a:cubicBezTo>
                  <a:pt x="641" y="225"/>
                  <a:pt x="640" y="222"/>
                  <a:pt x="638" y="219"/>
                </a:cubicBezTo>
                <a:cubicBezTo>
                  <a:pt x="635" y="212"/>
                  <a:pt x="632" y="206"/>
                  <a:pt x="632" y="206"/>
                </a:cubicBezTo>
                <a:cubicBezTo>
                  <a:pt x="632" y="206"/>
                  <a:pt x="628" y="200"/>
                  <a:pt x="625" y="194"/>
                </a:cubicBezTo>
                <a:cubicBezTo>
                  <a:pt x="623" y="191"/>
                  <a:pt x="621" y="188"/>
                  <a:pt x="620" y="186"/>
                </a:cubicBezTo>
                <a:cubicBezTo>
                  <a:pt x="618" y="184"/>
                  <a:pt x="617" y="182"/>
                  <a:pt x="617" y="182"/>
                </a:cubicBezTo>
                <a:cubicBezTo>
                  <a:pt x="615" y="179"/>
                  <a:pt x="615" y="175"/>
                  <a:pt x="617" y="171"/>
                </a:cubicBezTo>
                <a:cubicBezTo>
                  <a:pt x="617" y="171"/>
                  <a:pt x="621" y="162"/>
                  <a:pt x="626" y="152"/>
                </a:cubicBezTo>
                <a:cubicBezTo>
                  <a:pt x="630" y="142"/>
                  <a:pt x="634" y="132"/>
                  <a:pt x="634" y="132"/>
                </a:cubicBezTo>
                <a:cubicBezTo>
                  <a:pt x="635" y="128"/>
                  <a:pt x="635" y="123"/>
                  <a:pt x="631" y="119"/>
                </a:cubicBezTo>
                <a:cubicBezTo>
                  <a:pt x="631" y="119"/>
                  <a:pt x="630" y="118"/>
                  <a:pt x="628" y="115"/>
                </a:cubicBezTo>
                <a:cubicBezTo>
                  <a:pt x="625" y="113"/>
                  <a:pt x="623" y="109"/>
                  <a:pt x="619" y="106"/>
                </a:cubicBezTo>
                <a:cubicBezTo>
                  <a:pt x="616" y="103"/>
                  <a:pt x="613" y="100"/>
                  <a:pt x="611" y="97"/>
                </a:cubicBezTo>
                <a:cubicBezTo>
                  <a:pt x="610" y="96"/>
                  <a:pt x="609" y="95"/>
                  <a:pt x="608" y="95"/>
                </a:cubicBezTo>
                <a:cubicBezTo>
                  <a:pt x="607" y="94"/>
                  <a:pt x="607" y="94"/>
                  <a:pt x="607" y="94"/>
                </a:cubicBezTo>
                <a:cubicBezTo>
                  <a:pt x="603" y="90"/>
                  <a:pt x="598" y="89"/>
                  <a:pt x="594" y="90"/>
                </a:cubicBezTo>
                <a:cubicBezTo>
                  <a:pt x="594" y="90"/>
                  <a:pt x="592" y="91"/>
                  <a:pt x="588" y="92"/>
                </a:cubicBezTo>
                <a:cubicBezTo>
                  <a:pt x="584" y="94"/>
                  <a:pt x="579" y="96"/>
                  <a:pt x="574" y="98"/>
                </a:cubicBezTo>
                <a:cubicBezTo>
                  <a:pt x="569" y="100"/>
                  <a:pt x="564" y="102"/>
                  <a:pt x="561" y="103"/>
                </a:cubicBezTo>
                <a:cubicBezTo>
                  <a:pt x="557" y="105"/>
                  <a:pt x="555" y="106"/>
                  <a:pt x="555" y="106"/>
                </a:cubicBezTo>
                <a:cubicBezTo>
                  <a:pt x="551" y="108"/>
                  <a:pt x="546" y="107"/>
                  <a:pt x="543" y="105"/>
                </a:cubicBezTo>
                <a:cubicBezTo>
                  <a:pt x="543" y="105"/>
                  <a:pt x="542" y="103"/>
                  <a:pt x="540" y="102"/>
                </a:cubicBezTo>
                <a:cubicBezTo>
                  <a:pt x="537" y="100"/>
                  <a:pt x="535" y="98"/>
                  <a:pt x="532" y="96"/>
                </a:cubicBezTo>
                <a:cubicBezTo>
                  <a:pt x="529" y="95"/>
                  <a:pt x="526" y="93"/>
                  <a:pt x="524" y="91"/>
                </a:cubicBezTo>
                <a:cubicBezTo>
                  <a:pt x="521" y="90"/>
                  <a:pt x="520" y="89"/>
                  <a:pt x="520" y="89"/>
                </a:cubicBezTo>
                <a:cubicBezTo>
                  <a:pt x="520" y="89"/>
                  <a:pt x="514" y="85"/>
                  <a:pt x="508" y="82"/>
                </a:cubicBezTo>
                <a:cubicBezTo>
                  <a:pt x="502" y="79"/>
                  <a:pt x="495" y="76"/>
                  <a:pt x="495" y="76"/>
                </a:cubicBezTo>
                <a:cubicBezTo>
                  <a:pt x="492" y="74"/>
                  <a:pt x="489" y="70"/>
                  <a:pt x="489" y="66"/>
                </a:cubicBezTo>
                <a:cubicBezTo>
                  <a:pt x="489" y="66"/>
                  <a:pt x="488" y="56"/>
                  <a:pt x="487" y="45"/>
                </a:cubicBezTo>
                <a:cubicBezTo>
                  <a:pt x="486" y="34"/>
                  <a:pt x="484" y="24"/>
                  <a:pt x="484" y="24"/>
                </a:cubicBezTo>
                <a:cubicBezTo>
                  <a:pt x="484" y="19"/>
                  <a:pt x="480" y="16"/>
                  <a:pt x="476" y="14"/>
                </a:cubicBezTo>
                <a:cubicBezTo>
                  <a:pt x="476" y="14"/>
                  <a:pt x="467" y="11"/>
                  <a:pt x="459" y="9"/>
                </a:cubicBezTo>
                <a:cubicBezTo>
                  <a:pt x="450" y="6"/>
                  <a:pt x="442" y="4"/>
                  <a:pt x="442" y="4"/>
                </a:cubicBezTo>
                <a:cubicBezTo>
                  <a:pt x="437" y="3"/>
                  <a:pt x="432" y="4"/>
                  <a:pt x="429" y="7"/>
                </a:cubicBezTo>
                <a:cubicBezTo>
                  <a:pt x="429" y="7"/>
                  <a:pt x="422" y="15"/>
                  <a:pt x="416" y="24"/>
                </a:cubicBezTo>
                <a:cubicBezTo>
                  <a:pt x="409" y="32"/>
                  <a:pt x="403" y="41"/>
                  <a:pt x="403" y="41"/>
                </a:cubicBezTo>
                <a:cubicBezTo>
                  <a:pt x="400" y="44"/>
                  <a:pt x="396" y="46"/>
                  <a:pt x="392" y="45"/>
                </a:cubicBezTo>
                <a:cubicBezTo>
                  <a:pt x="392" y="45"/>
                  <a:pt x="385" y="44"/>
                  <a:pt x="378" y="44"/>
                </a:cubicBezTo>
                <a:cubicBezTo>
                  <a:pt x="371" y="43"/>
                  <a:pt x="364" y="43"/>
                  <a:pt x="364" y="43"/>
                </a:cubicBezTo>
                <a:cubicBezTo>
                  <a:pt x="364" y="43"/>
                  <a:pt x="363" y="43"/>
                  <a:pt x="360" y="43"/>
                </a:cubicBezTo>
                <a:cubicBezTo>
                  <a:pt x="357" y="43"/>
                  <a:pt x="354" y="43"/>
                  <a:pt x="350" y="43"/>
                </a:cubicBezTo>
                <a:cubicBezTo>
                  <a:pt x="347" y="43"/>
                  <a:pt x="343" y="44"/>
                  <a:pt x="341" y="44"/>
                </a:cubicBezTo>
                <a:cubicBezTo>
                  <a:pt x="338" y="44"/>
                  <a:pt x="336" y="44"/>
                  <a:pt x="336" y="44"/>
                </a:cubicBezTo>
                <a:cubicBezTo>
                  <a:pt x="332" y="44"/>
                  <a:pt x="328" y="42"/>
                  <a:pt x="326" y="39"/>
                </a:cubicBezTo>
                <a:cubicBezTo>
                  <a:pt x="326" y="39"/>
                  <a:pt x="325" y="37"/>
                  <a:pt x="322" y="33"/>
                </a:cubicBezTo>
                <a:cubicBezTo>
                  <a:pt x="320" y="30"/>
                  <a:pt x="317" y="26"/>
                  <a:pt x="314" y="21"/>
                </a:cubicBezTo>
                <a:cubicBezTo>
                  <a:pt x="311" y="17"/>
                  <a:pt x="308" y="13"/>
                  <a:pt x="305" y="10"/>
                </a:cubicBezTo>
                <a:cubicBezTo>
                  <a:pt x="303" y="6"/>
                  <a:pt x="301" y="4"/>
                  <a:pt x="301" y="4"/>
                </a:cubicBezTo>
                <a:cubicBezTo>
                  <a:pt x="298" y="1"/>
                  <a:pt x="293" y="0"/>
                  <a:pt x="289" y="0"/>
                </a:cubicBezTo>
                <a:cubicBezTo>
                  <a:pt x="289" y="0"/>
                  <a:pt x="288" y="1"/>
                  <a:pt x="287" y="1"/>
                </a:cubicBezTo>
                <a:cubicBezTo>
                  <a:pt x="286" y="1"/>
                  <a:pt x="285" y="1"/>
                  <a:pt x="283" y="2"/>
                </a:cubicBezTo>
                <a:cubicBezTo>
                  <a:pt x="280" y="2"/>
                  <a:pt x="276" y="3"/>
                  <a:pt x="271" y="4"/>
                </a:cubicBezTo>
                <a:cubicBezTo>
                  <a:pt x="267" y="5"/>
                  <a:pt x="263" y="7"/>
                  <a:pt x="259" y="7"/>
                </a:cubicBezTo>
                <a:cubicBezTo>
                  <a:pt x="256" y="8"/>
                  <a:pt x="254" y="9"/>
                  <a:pt x="254" y="9"/>
                </a:cubicBezTo>
                <a:cubicBezTo>
                  <a:pt x="249" y="10"/>
                  <a:pt x="246" y="14"/>
                  <a:pt x="245" y="18"/>
                </a:cubicBezTo>
                <a:cubicBezTo>
                  <a:pt x="245" y="18"/>
                  <a:pt x="243" y="29"/>
                  <a:pt x="241" y="39"/>
                </a:cubicBezTo>
                <a:cubicBezTo>
                  <a:pt x="240" y="50"/>
                  <a:pt x="239" y="60"/>
                  <a:pt x="239" y="60"/>
                </a:cubicBezTo>
                <a:cubicBezTo>
                  <a:pt x="238" y="64"/>
                  <a:pt x="236" y="68"/>
                  <a:pt x="232" y="70"/>
                </a:cubicBezTo>
                <a:cubicBezTo>
                  <a:pt x="232" y="70"/>
                  <a:pt x="230" y="70"/>
                  <a:pt x="228" y="71"/>
                </a:cubicBezTo>
                <a:cubicBezTo>
                  <a:pt x="225" y="72"/>
                  <a:pt x="222" y="74"/>
                  <a:pt x="219" y="75"/>
                </a:cubicBezTo>
                <a:cubicBezTo>
                  <a:pt x="213" y="79"/>
                  <a:pt x="207" y="82"/>
                  <a:pt x="207" y="82"/>
                </a:cubicBezTo>
                <a:cubicBezTo>
                  <a:pt x="207" y="82"/>
                  <a:pt x="201" y="85"/>
                  <a:pt x="195" y="89"/>
                </a:cubicBezTo>
                <a:cubicBezTo>
                  <a:pt x="192" y="90"/>
                  <a:pt x="189" y="92"/>
                  <a:pt x="187" y="94"/>
                </a:cubicBezTo>
                <a:cubicBezTo>
                  <a:pt x="184" y="95"/>
                  <a:pt x="183" y="96"/>
                  <a:pt x="183" y="96"/>
                </a:cubicBezTo>
                <a:cubicBezTo>
                  <a:pt x="179" y="98"/>
                  <a:pt x="175" y="99"/>
                  <a:pt x="171" y="97"/>
                </a:cubicBezTo>
                <a:cubicBezTo>
                  <a:pt x="171" y="97"/>
                  <a:pt x="162" y="92"/>
                  <a:pt x="152" y="88"/>
                </a:cubicBezTo>
                <a:cubicBezTo>
                  <a:pt x="142" y="83"/>
                  <a:pt x="132" y="80"/>
                  <a:pt x="132" y="80"/>
                </a:cubicBezTo>
                <a:cubicBezTo>
                  <a:pt x="128" y="78"/>
                  <a:pt x="123" y="79"/>
                  <a:pt x="120" y="82"/>
                </a:cubicBezTo>
                <a:cubicBezTo>
                  <a:pt x="120" y="82"/>
                  <a:pt x="118" y="84"/>
                  <a:pt x="116" y="86"/>
                </a:cubicBezTo>
                <a:cubicBezTo>
                  <a:pt x="113" y="88"/>
                  <a:pt x="110" y="91"/>
                  <a:pt x="107" y="94"/>
                </a:cubicBezTo>
                <a:cubicBezTo>
                  <a:pt x="103" y="97"/>
                  <a:pt x="100" y="101"/>
                  <a:pt x="98" y="103"/>
                </a:cubicBezTo>
                <a:cubicBezTo>
                  <a:pt x="97" y="104"/>
                  <a:pt x="96" y="105"/>
                  <a:pt x="95" y="106"/>
                </a:cubicBezTo>
                <a:cubicBezTo>
                  <a:pt x="94" y="106"/>
                  <a:pt x="94" y="107"/>
                  <a:pt x="94" y="107"/>
                </a:cubicBezTo>
                <a:cubicBezTo>
                  <a:pt x="91" y="110"/>
                  <a:pt x="89" y="115"/>
                  <a:pt x="91" y="119"/>
                </a:cubicBezTo>
                <a:cubicBezTo>
                  <a:pt x="91" y="119"/>
                  <a:pt x="92" y="122"/>
                  <a:pt x="93" y="126"/>
                </a:cubicBezTo>
                <a:cubicBezTo>
                  <a:pt x="94" y="129"/>
                  <a:pt x="96" y="135"/>
                  <a:pt x="98" y="140"/>
                </a:cubicBezTo>
                <a:cubicBezTo>
                  <a:pt x="100" y="145"/>
                  <a:pt x="102" y="149"/>
                  <a:pt x="104" y="153"/>
                </a:cubicBezTo>
                <a:cubicBezTo>
                  <a:pt x="105" y="157"/>
                  <a:pt x="106" y="159"/>
                  <a:pt x="106" y="159"/>
                </a:cubicBezTo>
                <a:cubicBezTo>
                  <a:pt x="108" y="163"/>
                  <a:pt x="107" y="167"/>
                  <a:pt x="105" y="171"/>
                </a:cubicBezTo>
                <a:cubicBezTo>
                  <a:pt x="105" y="171"/>
                  <a:pt x="104" y="172"/>
                  <a:pt x="102" y="174"/>
                </a:cubicBezTo>
                <a:cubicBezTo>
                  <a:pt x="101" y="176"/>
                  <a:pt x="99" y="179"/>
                  <a:pt x="97" y="182"/>
                </a:cubicBezTo>
                <a:cubicBezTo>
                  <a:pt x="95" y="185"/>
                  <a:pt x="93" y="188"/>
                  <a:pt x="92" y="190"/>
                </a:cubicBezTo>
                <a:cubicBezTo>
                  <a:pt x="90" y="192"/>
                  <a:pt x="89" y="194"/>
                  <a:pt x="89" y="194"/>
                </a:cubicBezTo>
                <a:cubicBezTo>
                  <a:pt x="89" y="194"/>
                  <a:pt x="86" y="200"/>
                  <a:pt x="82" y="206"/>
                </a:cubicBezTo>
                <a:cubicBezTo>
                  <a:pt x="79" y="212"/>
                  <a:pt x="76" y="218"/>
                  <a:pt x="76" y="218"/>
                </a:cubicBezTo>
                <a:cubicBezTo>
                  <a:pt x="74" y="222"/>
                  <a:pt x="70" y="224"/>
                  <a:pt x="66" y="225"/>
                </a:cubicBezTo>
                <a:cubicBezTo>
                  <a:pt x="66" y="225"/>
                  <a:pt x="56" y="225"/>
                  <a:pt x="45" y="226"/>
                </a:cubicBezTo>
                <a:cubicBezTo>
                  <a:pt x="35" y="227"/>
                  <a:pt x="24" y="229"/>
                  <a:pt x="24" y="229"/>
                </a:cubicBezTo>
                <a:cubicBezTo>
                  <a:pt x="20" y="230"/>
                  <a:pt x="16" y="233"/>
                  <a:pt x="14" y="238"/>
                </a:cubicBezTo>
                <a:cubicBezTo>
                  <a:pt x="14" y="238"/>
                  <a:pt x="12" y="246"/>
                  <a:pt x="9" y="255"/>
                </a:cubicBezTo>
                <a:cubicBezTo>
                  <a:pt x="7" y="263"/>
                  <a:pt x="4" y="272"/>
                  <a:pt x="4" y="272"/>
                </a:cubicBezTo>
                <a:cubicBezTo>
                  <a:pt x="3" y="277"/>
                  <a:pt x="5" y="281"/>
                  <a:pt x="8" y="284"/>
                </a:cubicBezTo>
                <a:cubicBezTo>
                  <a:pt x="8" y="284"/>
                  <a:pt x="16" y="291"/>
                  <a:pt x="24" y="298"/>
                </a:cubicBezTo>
                <a:cubicBezTo>
                  <a:pt x="33" y="305"/>
                  <a:pt x="41" y="311"/>
                  <a:pt x="41" y="311"/>
                </a:cubicBezTo>
                <a:cubicBezTo>
                  <a:pt x="44" y="313"/>
                  <a:pt x="46" y="317"/>
                  <a:pt x="46" y="322"/>
                </a:cubicBezTo>
                <a:cubicBezTo>
                  <a:pt x="46" y="322"/>
                  <a:pt x="45" y="328"/>
                  <a:pt x="44" y="335"/>
                </a:cubicBezTo>
                <a:cubicBezTo>
                  <a:pt x="44" y="342"/>
                  <a:pt x="44" y="349"/>
                  <a:pt x="44" y="349"/>
                </a:cubicBezTo>
                <a:cubicBezTo>
                  <a:pt x="44" y="349"/>
                  <a:pt x="44" y="351"/>
                  <a:pt x="44" y="354"/>
                </a:cubicBezTo>
                <a:cubicBezTo>
                  <a:pt x="44" y="356"/>
                  <a:pt x="44" y="360"/>
                  <a:pt x="44" y="363"/>
                </a:cubicBezTo>
                <a:cubicBezTo>
                  <a:pt x="44" y="367"/>
                  <a:pt x="44" y="370"/>
                  <a:pt x="44" y="373"/>
                </a:cubicBezTo>
                <a:cubicBezTo>
                  <a:pt x="44" y="375"/>
                  <a:pt x="44" y="377"/>
                  <a:pt x="44" y="377"/>
                </a:cubicBezTo>
                <a:cubicBezTo>
                  <a:pt x="45" y="381"/>
                  <a:pt x="43" y="385"/>
                  <a:pt x="39" y="388"/>
                </a:cubicBezTo>
                <a:cubicBezTo>
                  <a:pt x="39" y="388"/>
                  <a:pt x="37" y="389"/>
                  <a:pt x="34" y="391"/>
                </a:cubicBezTo>
                <a:cubicBezTo>
                  <a:pt x="31" y="394"/>
                  <a:pt x="26" y="397"/>
                  <a:pt x="22" y="400"/>
                </a:cubicBezTo>
                <a:cubicBezTo>
                  <a:pt x="18" y="403"/>
                  <a:pt x="13" y="406"/>
                  <a:pt x="10" y="409"/>
                </a:cubicBezTo>
                <a:cubicBezTo>
                  <a:pt x="7" y="411"/>
                  <a:pt x="5" y="413"/>
                  <a:pt x="5" y="413"/>
                </a:cubicBezTo>
                <a:cubicBezTo>
                  <a:pt x="2" y="415"/>
                  <a:pt x="0" y="420"/>
                  <a:pt x="1" y="425"/>
                </a:cubicBezTo>
                <a:cubicBezTo>
                  <a:pt x="1" y="425"/>
                  <a:pt x="1" y="426"/>
                  <a:pt x="1" y="427"/>
                </a:cubicBezTo>
                <a:cubicBezTo>
                  <a:pt x="1" y="427"/>
                  <a:pt x="2" y="429"/>
                  <a:pt x="2" y="430"/>
                </a:cubicBezTo>
                <a:cubicBezTo>
                  <a:pt x="3" y="434"/>
                  <a:pt x="4" y="438"/>
                  <a:pt x="5" y="442"/>
                </a:cubicBezTo>
                <a:cubicBezTo>
                  <a:pt x="6" y="447"/>
                  <a:pt x="7" y="451"/>
                  <a:pt x="8" y="454"/>
                </a:cubicBezTo>
                <a:cubicBezTo>
                  <a:pt x="9" y="457"/>
                  <a:pt x="9" y="460"/>
                  <a:pt x="9" y="460"/>
                </a:cubicBezTo>
                <a:cubicBezTo>
                  <a:pt x="11" y="464"/>
                  <a:pt x="14" y="468"/>
                  <a:pt x="18" y="469"/>
                </a:cubicBezTo>
                <a:cubicBezTo>
                  <a:pt x="18" y="469"/>
                  <a:pt x="29" y="471"/>
                  <a:pt x="40" y="472"/>
                </a:cubicBezTo>
                <a:cubicBezTo>
                  <a:pt x="50" y="474"/>
                  <a:pt x="61" y="475"/>
                  <a:pt x="61" y="475"/>
                </a:cubicBezTo>
                <a:cubicBezTo>
                  <a:pt x="65" y="475"/>
                  <a:pt x="68" y="478"/>
                  <a:pt x="70" y="482"/>
                </a:cubicBezTo>
                <a:cubicBezTo>
                  <a:pt x="70" y="482"/>
                  <a:pt x="71" y="484"/>
                  <a:pt x="72" y="486"/>
                </a:cubicBezTo>
                <a:cubicBezTo>
                  <a:pt x="73" y="488"/>
                  <a:pt x="74" y="491"/>
                  <a:pt x="76" y="495"/>
                </a:cubicBezTo>
                <a:cubicBezTo>
                  <a:pt x="79" y="501"/>
                  <a:pt x="82" y="507"/>
                  <a:pt x="82" y="507"/>
                </a:cubicBezTo>
                <a:cubicBezTo>
                  <a:pt x="82" y="507"/>
                  <a:pt x="86" y="513"/>
                  <a:pt x="89" y="519"/>
                </a:cubicBezTo>
                <a:cubicBezTo>
                  <a:pt x="91" y="522"/>
                  <a:pt x="93" y="525"/>
                  <a:pt x="94" y="527"/>
                </a:cubicBezTo>
                <a:cubicBezTo>
                  <a:pt x="96" y="529"/>
                  <a:pt x="97" y="531"/>
                  <a:pt x="97" y="531"/>
                </a:cubicBezTo>
                <a:cubicBezTo>
                  <a:pt x="99" y="534"/>
                  <a:pt x="99" y="539"/>
                  <a:pt x="97" y="542"/>
                </a:cubicBezTo>
                <a:cubicBezTo>
                  <a:pt x="97" y="542"/>
                  <a:pt x="93" y="552"/>
                  <a:pt x="88" y="562"/>
                </a:cubicBezTo>
                <a:cubicBezTo>
                  <a:pt x="84" y="571"/>
                  <a:pt x="80" y="581"/>
                  <a:pt x="80" y="581"/>
                </a:cubicBezTo>
                <a:cubicBezTo>
                  <a:pt x="79" y="585"/>
                  <a:pt x="79" y="590"/>
                  <a:pt x="83" y="594"/>
                </a:cubicBezTo>
                <a:cubicBezTo>
                  <a:pt x="83" y="594"/>
                  <a:pt x="84" y="596"/>
                  <a:pt x="86" y="598"/>
                </a:cubicBezTo>
                <a:cubicBezTo>
                  <a:pt x="89" y="600"/>
                  <a:pt x="92" y="604"/>
                  <a:pt x="95" y="607"/>
                </a:cubicBezTo>
                <a:cubicBezTo>
                  <a:pt x="98" y="610"/>
                  <a:pt x="101" y="613"/>
                  <a:pt x="103" y="616"/>
                </a:cubicBezTo>
                <a:cubicBezTo>
                  <a:pt x="104" y="617"/>
                  <a:pt x="105" y="618"/>
                  <a:pt x="106" y="619"/>
                </a:cubicBezTo>
                <a:cubicBezTo>
                  <a:pt x="107" y="619"/>
                  <a:pt x="107" y="620"/>
                  <a:pt x="107" y="620"/>
                </a:cubicBezTo>
                <a:cubicBezTo>
                  <a:pt x="111" y="623"/>
                  <a:pt x="116" y="624"/>
                  <a:pt x="120" y="623"/>
                </a:cubicBezTo>
                <a:cubicBezTo>
                  <a:pt x="120" y="623"/>
                  <a:pt x="122" y="622"/>
                  <a:pt x="126" y="621"/>
                </a:cubicBezTo>
                <a:cubicBezTo>
                  <a:pt x="130" y="619"/>
                  <a:pt x="135" y="618"/>
                  <a:pt x="140" y="616"/>
                </a:cubicBezTo>
                <a:cubicBezTo>
                  <a:pt x="145" y="614"/>
                  <a:pt x="150" y="612"/>
                  <a:pt x="153" y="610"/>
                </a:cubicBezTo>
                <a:cubicBezTo>
                  <a:pt x="157" y="609"/>
                  <a:pt x="159" y="607"/>
                  <a:pt x="159" y="607"/>
                </a:cubicBezTo>
                <a:cubicBezTo>
                  <a:pt x="163" y="606"/>
                  <a:pt x="168" y="606"/>
                  <a:pt x="171" y="609"/>
                </a:cubicBezTo>
                <a:cubicBezTo>
                  <a:pt x="171" y="609"/>
                  <a:pt x="172" y="610"/>
                  <a:pt x="175" y="611"/>
                </a:cubicBezTo>
                <a:cubicBezTo>
                  <a:pt x="177" y="613"/>
                  <a:pt x="180" y="615"/>
                  <a:pt x="182" y="617"/>
                </a:cubicBezTo>
                <a:cubicBezTo>
                  <a:pt x="185" y="619"/>
                  <a:pt x="188" y="621"/>
                  <a:pt x="190" y="622"/>
                </a:cubicBezTo>
                <a:cubicBezTo>
                  <a:pt x="193" y="623"/>
                  <a:pt x="194" y="624"/>
                  <a:pt x="194" y="624"/>
                </a:cubicBezTo>
                <a:cubicBezTo>
                  <a:pt x="194" y="624"/>
                  <a:pt x="200" y="628"/>
                  <a:pt x="206" y="631"/>
                </a:cubicBezTo>
                <a:cubicBezTo>
                  <a:pt x="212" y="635"/>
                  <a:pt x="219" y="638"/>
                  <a:pt x="219" y="638"/>
                </a:cubicBezTo>
                <a:cubicBezTo>
                  <a:pt x="222" y="639"/>
                  <a:pt x="225" y="643"/>
                  <a:pt x="225" y="647"/>
                </a:cubicBezTo>
                <a:cubicBezTo>
                  <a:pt x="225" y="647"/>
                  <a:pt x="226" y="658"/>
                  <a:pt x="227" y="668"/>
                </a:cubicBezTo>
                <a:cubicBezTo>
                  <a:pt x="228" y="679"/>
                  <a:pt x="230" y="690"/>
                  <a:pt x="230" y="690"/>
                </a:cubicBezTo>
                <a:cubicBezTo>
                  <a:pt x="230" y="694"/>
                  <a:pt x="234" y="698"/>
                  <a:pt x="238" y="699"/>
                </a:cubicBezTo>
                <a:cubicBezTo>
                  <a:pt x="238" y="699"/>
                  <a:pt x="247" y="702"/>
                  <a:pt x="255" y="705"/>
                </a:cubicBezTo>
                <a:cubicBezTo>
                  <a:pt x="264" y="707"/>
                  <a:pt x="272" y="709"/>
                  <a:pt x="272" y="709"/>
                </a:cubicBezTo>
                <a:cubicBezTo>
                  <a:pt x="277" y="710"/>
                  <a:pt x="282" y="709"/>
                  <a:pt x="285" y="706"/>
                </a:cubicBezTo>
                <a:cubicBezTo>
                  <a:pt x="285" y="706"/>
                  <a:pt x="292" y="698"/>
                  <a:pt x="299" y="689"/>
                </a:cubicBezTo>
                <a:cubicBezTo>
                  <a:pt x="305" y="681"/>
                  <a:pt x="311" y="673"/>
                  <a:pt x="311" y="673"/>
                </a:cubicBezTo>
                <a:cubicBezTo>
                  <a:pt x="314" y="669"/>
                  <a:pt x="318" y="667"/>
                  <a:pt x="322" y="668"/>
                </a:cubicBezTo>
                <a:cubicBezTo>
                  <a:pt x="322" y="668"/>
                  <a:pt x="329" y="669"/>
                  <a:pt x="336" y="669"/>
                </a:cubicBezTo>
                <a:cubicBezTo>
                  <a:pt x="343" y="670"/>
                  <a:pt x="350" y="670"/>
                  <a:pt x="350" y="670"/>
                </a:cubicBezTo>
                <a:cubicBezTo>
                  <a:pt x="350" y="670"/>
                  <a:pt x="352" y="670"/>
                  <a:pt x="354" y="670"/>
                </a:cubicBezTo>
                <a:cubicBezTo>
                  <a:pt x="357" y="670"/>
                  <a:pt x="360" y="670"/>
                  <a:pt x="364" y="670"/>
                </a:cubicBezTo>
                <a:cubicBezTo>
                  <a:pt x="367" y="670"/>
                  <a:pt x="371" y="670"/>
                  <a:pt x="373" y="670"/>
                </a:cubicBezTo>
                <a:cubicBezTo>
                  <a:pt x="376" y="669"/>
                  <a:pt x="378" y="669"/>
                  <a:pt x="378" y="669"/>
                </a:cubicBezTo>
                <a:cubicBezTo>
                  <a:pt x="382" y="669"/>
                  <a:pt x="386" y="671"/>
                  <a:pt x="388" y="674"/>
                </a:cubicBezTo>
                <a:close/>
                <a:moveTo>
                  <a:pt x="351" y="606"/>
                </a:moveTo>
                <a:cubicBezTo>
                  <a:pt x="351" y="606"/>
                  <a:pt x="349" y="606"/>
                  <a:pt x="346" y="606"/>
                </a:cubicBezTo>
                <a:cubicBezTo>
                  <a:pt x="342" y="605"/>
                  <a:pt x="337" y="605"/>
                  <a:pt x="331" y="604"/>
                </a:cubicBezTo>
                <a:cubicBezTo>
                  <a:pt x="319" y="603"/>
                  <a:pt x="303" y="600"/>
                  <a:pt x="287" y="596"/>
                </a:cubicBezTo>
                <a:cubicBezTo>
                  <a:pt x="271" y="591"/>
                  <a:pt x="256" y="585"/>
                  <a:pt x="245" y="579"/>
                </a:cubicBezTo>
                <a:cubicBezTo>
                  <a:pt x="240" y="577"/>
                  <a:pt x="235" y="574"/>
                  <a:pt x="232" y="572"/>
                </a:cubicBezTo>
                <a:cubicBezTo>
                  <a:pt x="229" y="571"/>
                  <a:pt x="227" y="569"/>
                  <a:pt x="227" y="569"/>
                </a:cubicBezTo>
                <a:cubicBezTo>
                  <a:pt x="227" y="569"/>
                  <a:pt x="226" y="568"/>
                  <a:pt x="223" y="567"/>
                </a:cubicBezTo>
                <a:cubicBezTo>
                  <a:pt x="220" y="565"/>
                  <a:pt x="215" y="562"/>
                  <a:pt x="210" y="558"/>
                </a:cubicBezTo>
                <a:cubicBezTo>
                  <a:pt x="200" y="551"/>
                  <a:pt x="188" y="541"/>
                  <a:pt x="177" y="529"/>
                </a:cubicBezTo>
                <a:cubicBezTo>
                  <a:pt x="165" y="517"/>
                  <a:pt x="156" y="504"/>
                  <a:pt x="149" y="494"/>
                </a:cubicBezTo>
                <a:cubicBezTo>
                  <a:pt x="147" y="491"/>
                  <a:pt x="146" y="489"/>
                  <a:pt x="144" y="487"/>
                </a:cubicBezTo>
                <a:cubicBezTo>
                  <a:pt x="143" y="485"/>
                  <a:pt x="142" y="483"/>
                  <a:pt x="141" y="481"/>
                </a:cubicBezTo>
                <a:cubicBezTo>
                  <a:pt x="139" y="478"/>
                  <a:pt x="138" y="476"/>
                  <a:pt x="138" y="476"/>
                </a:cubicBezTo>
                <a:cubicBezTo>
                  <a:pt x="138" y="476"/>
                  <a:pt x="137" y="474"/>
                  <a:pt x="136" y="471"/>
                </a:cubicBezTo>
                <a:cubicBezTo>
                  <a:pt x="135" y="470"/>
                  <a:pt x="134" y="468"/>
                  <a:pt x="133" y="465"/>
                </a:cubicBezTo>
                <a:cubicBezTo>
                  <a:pt x="132" y="463"/>
                  <a:pt x="131" y="461"/>
                  <a:pt x="129" y="458"/>
                </a:cubicBezTo>
                <a:cubicBezTo>
                  <a:pt x="124" y="447"/>
                  <a:pt x="119" y="431"/>
                  <a:pt x="115" y="416"/>
                </a:cubicBezTo>
                <a:cubicBezTo>
                  <a:pt x="111" y="400"/>
                  <a:pt x="109" y="383"/>
                  <a:pt x="108" y="371"/>
                </a:cubicBezTo>
                <a:cubicBezTo>
                  <a:pt x="108" y="365"/>
                  <a:pt x="108" y="360"/>
                  <a:pt x="108" y="357"/>
                </a:cubicBezTo>
                <a:cubicBezTo>
                  <a:pt x="108" y="353"/>
                  <a:pt x="108" y="351"/>
                  <a:pt x="108" y="351"/>
                </a:cubicBezTo>
                <a:cubicBezTo>
                  <a:pt x="108" y="351"/>
                  <a:pt x="108" y="349"/>
                  <a:pt x="108" y="345"/>
                </a:cubicBezTo>
                <a:cubicBezTo>
                  <a:pt x="108" y="342"/>
                  <a:pt x="108" y="337"/>
                  <a:pt x="109" y="331"/>
                </a:cubicBezTo>
                <a:cubicBezTo>
                  <a:pt x="110" y="318"/>
                  <a:pt x="113" y="302"/>
                  <a:pt x="118" y="287"/>
                </a:cubicBezTo>
                <a:cubicBezTo>
                  <a:pt x="122" y="271"/>
                  <a:pt x="129" y="256"/>
                  <a:pt x="134" y="245"/>
                </a:cubicBezTo>
                <a:cubicBezTo>
                  <a:pt x="137" y="239"/>
                  <a:pt x="140" y="235"/>
                  <a:pt x="141" y="232"/>
                </a:cubicBezTo>
                <a:cubicBezTo>
                  <a:pt x="143" y="229"/>
                  <a:pt x="144" y="227"/>
                  <a:pt x="144" y="227"/>
                </a:cubicBezTo>
                <a:cubicBezTo>
                  <a:pt x="144" y="227"/>
                  <a:pt x="145" y="225"/>
                  <a:pt x="147" y="222"/>
                </a:cubicBezTo>
                <a:cubicBezTo>
                  <a:pt x="149" y="219"/>
                  <a:pt x="152" y="215"/>
                  <a:pt x="155" y="210"/>
                </a:cubicBezTo>
                <a:cubicBezTo>
                  <a:pt x="163" y="200"/>
                  <a:pt x="173" y="188"/>
                  <a:pt x="185" y="176"/>
                </a:cubicBezTo>
                <a:cubicBezTo>
                  <a:pt x="197" y="165"/>
                  <a:pt x="210" y="155"/>
                  <a:pt x="220" y="149"/>
                </a:cubicBezTo>
                <a:cubicBezTo>
                  <a:pt x="223" y="147"/>
                  <a:pt x="225" y="145"/>
                  <a:pt x="227" y="144"/>
                </a:cubicBezTo>
                <a:cubicBezTo>
                  <a:pt x="229" y="143"/>
                  <a:pt x="231" y="142"/>
                  <a:pt x="233" y="141"/>
                </a:cubicBezTo>
                <a:cubicBezTo>
                  <a:pt x="236" y="139"/>
                  <a:pt x="237" y="138"/>
                  <a:pt x="237" y="138"/>
                </a:cubicBezTo>
                <a:cubicBezTo>
                  <a:pt x="237" y="138"/>
                  <a:pt x="239" y="137"/>
                  <a:pt x="242" y="135"/>
                </a:cubicBezTo>
                <a:cubicBezTo>
                  <a:pt x="244" y="135"/>
                  <a:pt x="246" y="134"/>
                  <a:pt x="248" y="132"/>
                </a:cubicBezTo>
                <a:cubicBezTo>
                  <a:pt x="250" y="131"/>
                  <a:pt x="253" y="130"/>
                  <a:pt x="256" y="129"/>
                </a:cubicBezTo>
                <a:cubicBezTo>
                  <a:pt x="267" y="124"/>
                  <a:pt x="282" y="118"/>
                  <a:pt x="298" y="114"/>
                </a:cubicBezTo>
                <a:cubicBezTo>
                  <a:pt x="314" y="111"/>
                  <a:pt x="330" y="108"/>
                  <a:pt x="342" y="108"/>
                </a:cubicBezTo>
                <a:cubicBezTo>
                  <a:pt x="348" y="107"/>
                  <a:pt x="354" y="107"/>
                  <a:pt x="357" y="107"/>
                </a:cubicBezTo>
                <a:cubicBezTo>
                  <a:pt x="361" y="107"/>
                  <a:pt x="363" y="107"/>
                  <a:pt x="363" y="107"/>
                </a:cubicBezTo>
                <a:cubicBezTo>
                  <a:pt x="363" y="107"/>
                  <a:pt x="365" y="108"/>
                  <a:pt x="368" y="108"/>
                </a:cubicBezTo>
                <a:cubicBezTo>
                  <a:pt x="372" y="108"/>
                  <a:pt x="377" y="108"/>
                  <a:pt x="383" y="109"/>
                </a:cubicBezTo>
                <a:cubicBezTo>
                  <a:pt x="395" y="110"/>
                  <a:pt x="411" y="113"/>
                  <a:pt x="427" y="117"/>
                </a:cubicBezTo>
                <a:cubicBezTo>
                  <a:pt x="443" y="122"/>
                  <a:pt x="458" y="128"/>
                  <a:pt x="469" y="134"/>
                </a:cubicBezTo>
                <a:cubicBezTo>
                  <a:pt x="474" y="137"/>
                  <a:pt x="479" y="139"/>
                  <a:pt x="482" y="141"/>
                </a:cubicBezTo>
                <a:cubicBezTo>
                  <a:pt x="485" y="143"/>
                  <a:pt x="487" y="144"/>
                  <a:pt x="487" y="144"/>
                </a:cubicBezTo>
                <a:cubicBezTo>
                  <a:pt x="487" y="144"/>
                  <a:pt x="488" y="145"/>
                  <a:pt x="491" y="147"/>
                </a:cubicBezTo>
                <a:cubicBezTo>
                  <a:pt x="494" y="149"/>
                  <a:pt x="499" y="151"/>
                  <a:pt x="504" y="155"/>
                </a:cubicBezTo>
                <a:cubicBezTo>
                  <a:pt x="514" y="162"/>
                  <a:pt x="526" y="173"/>
                  <a:pt x="537" y="184"/>
                </a:cubicBezTo>
                <a:cubicBezTo>
                  <a:pt x="549" y="196"/>
                  <a:pt x="558" y="209"/>
                  <a:pt x="565" y="220"/>
                </a:cubicBezTo>
                <a:cubicBezTo>
                  <a:pt x="567" y="222"/>
                  <a:pt x="568" y="224"/>
                  <a:pt x="570" y="227"/>
                </a:cubicBezTo>
                <a:cubicBezTo>
                  <a:pt x="571" y="229"/>
                  <a:pt x="572" y="231"/>
                  <a:pt x="573" y="232"/>
                </a:cubicBezTo>
                <a:cubicBezTo>
                  <a:pt x="575" y="235"/>
                  <a:pt x="576" y="237"/>
                  <a:pt x="576" y="237"/>
                </a:cubicBezTo>
                <a:cubicBezTo>
                  <a:pt x="576" y="237"/>
                  <a:pt x="577" y="239"/>
                  <a:pt x="578" y="242"/>
                </a:cubicBezTo>
                <a:cubicBezTo>
                  <a:pt x="579" y="244"/>
                  <a:pt x="580" y="246"/>
                  <a:pt x="581" y="248"/>
                </a:cubicBezTo>
                <a:cubicBezTo>
                  <a:pt x="582" y="250"/>
                  <a:pt x="583" y="253"/>
                  <a:pt x="585" y="255"/>
                </a:cubicBezTo>
                <a:cubicBezTo>
                  <a:pt x="590" y="267"/>
                  <a:pt x="595" y="282"/>
                  <a:pt x="599" y="298"/>
                </a:cubicBezTo>
                <a:cubicBezTo>
                  <a:pt x="603" y="314"/>
                  <a:pt x="605" y="330"/>
                  <a:pt x="606" y="342"/>
                </a:cubicBezTo>
                <a:cubicBezTo>
                  <a:pt x="606" y="348"/>
                  <a:pt x="606" y="353"/>
                  <a:pt x="606" y="357"/>
                </a:cubicBezTo>
                <a:cubicBezTo>
                  <a:pt x="606" y="360"/>
                  <a:pt x="606" y="362"/>
                  <a:pt x="606" y="362"/>
                </a:cubicBezTo>
                <a:cubicBezTo>
                  <a:pt x="606" y="362"/>
                  <a:pt x="606" y="364"/>
                  <a:pt x="606" y="368"/>
                </a:cubicBezTo>
                <a:cubicBezTo>
                  <a:pt x="606" y="371"/>
                  <a:pt x="606" y="377"/>
                  <a:pt x="605" y="383"/>
                </a:cubicBezTo>
                <a:cubicBezTo>
                  <a:pt x="604" y="395"/>
                  <a:pt x="601" y="411"/>
                  <a:pt x="596" y="427"/>
                </a:cubicBezTo>
                <a:cubicBezTo>
                  <a:pt x="592" y="442"/>
                  <a:pt x="585" y="458"/>
                  <a:pt x="580" y="468"/>
                </a:cubicBezTo>
                <a:cubicBezTo>
                  <a:pt x="577" y="474"/>
                  <a:pt x="574" y="478"/>
                  <a:pt x="573" y="481"/>
                </a:cubicBezTo>
                <a:cubicBezTo>
                  <a:pt x="571" y="484"/>
                  <a:pt x="570" y="486"/>
                  <a:pt x="570" y="486"/>
                </a:cubicBezTo>
                <a:cubicBezTo>
                  <a:pt x="570" y="486"/>
                  <a:pt x="569" y="488"/>
                  <a:pt x="567" y="491"/>
                </a:cubicBezTo>
                <a:cubicBezTo>
                  <a:pt x="565" y="494"/>
                  <a:pt x="562" y="498"/>
                  <a:pt x="559" y="503"/>
                </a:cubicBezTo>
                <a:cubicBezTo>
                  <a:pt x="552" y="513"/>
                  <a:pt x="541" y="526"/>
                  <a:pt x="529" y="537"/>
                </a:cubicBezTo>
                <a:cubicBezTo>
                  <a:pt x="517" y="548"/>
                  <a:pt x="504" y="558"/>
                  <a:pt x="494" y="565"/>
                </a:cubicBezTo>
                <a:cubicBezTo>
                  <a:pt x="492" y="566"/>
                  <a:pt x="489" y="568"/>
                  <a:pt x="487" y="569"/>
                </a:cubicBezTo>
                <a:cubicBezTo>
                  <a:pt x="485" y="570"/>
                  <a:pt x="483" y="572"/>
                  <a:pt x="482" y="572"/>
                </a:cubicBezTo>
                <a:cubicBezTo>
                  <a:pt x="478" y="574"/>
                  <a:pt x="477" y="575"/>
                  <a:pt x="477" y="575"/>
                </a:cubicBezTo>
                <a:cubicBezTo>
                  <a:pt x="477" y="575"/>
                  <a:pt x="475" y="576"/>
                  <a:pt x="472" y="578"/>
                </a:cubicBezTo>
                <a:cubicBezTo>
                  <a:pt x="470" y="579"/>
                  <a:pt x="468" y="580"/>
                  <a:pt x="466" y="581"/>
                </a:cubicBezTo>
                <a:cubicBezTo>
                  <a:pt x="464" y="582"/>
                  <a:pt x="461" y="583"/>
                  <a:pt x="458" y="584"/>
                </a:cubicBezTo>
                <a:cubicBezTo>
                  <a:pt x="447" y="589"/>
                  <a:pt x="432" y="595"/>
                  <a:pt x="416" y="599"/>
                </a:cubicBezTo>
                <a:cubicBezTo>
                  <a:pt x="400" y="603"/>
                  <a:pt x="384" y="605"/>
                  <a:pt x="372" y="605"/>
                </a:cubicBezTo>
                <a:cubicBezTo>
                  <a:pt x="366" y="606"/>
                  <a:pt x="361" y="606"/>
                  <a:pt x="357" y="606"/>
                </a:cubicBezTo>
                <a:cubicBezTo>
                  <a:pt x="353" y="606"/>
                  <a:pt x="351" y="606"/>
                  <a:pt x="351" y="606"/>
                </a:cubicBezTo>
                <a:close/>
              </a:path>
            </a:pathLst>
          </a:custGeom>
          <a:solidFill>
            <a:schemeClr val="bg1">
              <a:lumMod val="65000"/>
            </a:schemeClr>
          </a:solidFill>
          <a:ln>
            <a:solidFill>
              <a:schemeClr val="tx1">
                <a:lumMod val="50000"/>
                <a:lumOff val="50000"/>
              </a:schemeClr>
            </a:solidFill>
          </a:ln>
        </p:spPr>
        <p:txBody>
          <a:bodyPr vert="horz" wrap="square" lIns="91440" tIns="45720" rIns="91440" bIns="45720" numCol="1" anchor="t" anchorCtr="0" compatLnSpc="1">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dirty="0"/>
          </a:p>
        </p:txBody>
      </p:sp>
      <p:sp>
        <p:nvSpPr>
          <p:cNvPr id="61" name="ïṩḻíḋè"/>
          <p:cNvSpPr/>
          <p:nvPr/>
        </p:nvSpPr>
        <p:spPr bwMode="auto">
          <a:xfrm>
            <a:off x="8662156" y="3197556"/>
            <a:ext cx="1082393" cy="1090629"/>
          </a:xfrm>
          <a:custGeom>
            <a:avLst/>
            <a:gdLst>
              <a:gd name="T0" fmla="*/ 320 w 596"/>
              <a:gd name="T1" fmla="*/ 561 h 599"/>
              <a:gd name="T2" fmla="*/ 361 w 596"/>
              <a:gd name="T3" fmla="*/ 559 h 599"/>
              <a:gd name="T4" fmla="*/ 406 w 596"/>
              <a:gd name="T5" fmla="*/ 581 h 599"/>
              <a:gd name="T6" fmla="*/ 430 w 596"/>
              <a:gd name="T7" fmla="*/ 527 h 599"/>
              <a:gd name="T8" fmla="*/ 466 w 596"/>
              <a:gd name="T9" fmla="*/ 503 h 599"/>
              <a:gd name="T10" fmla="*/ 524 w 596"/>
              <a:gd name="T11" fmla="*/ 500 h 599"/>
              <a:gd name="T12" fmla="*/ 521 w 596"/>
              <a:gd name="T13" fmla="*/ 450 h 599"/>
              <a:gd name="T14" fmla="*/ 537 w 596"/>
              <a:gd name="T15" fmla="*/ 413 h 599"/>
              <a:gd name="T16" fmla="*/ 588 w 596"/>
              <a:gd name="T17" fmla="*/ 385 h 599"/>
              <a:gd name="T18" fmla="*/ 579 w 596"/>
              <a:gd name="T19" fmla="*/ 340 h 599"/>
              <a:gd name="T20" fmla="*/ 562 w 596"/>
              <a:gd name="T21" fmla="*/ 297 h 599"/>
              <a:gd name="T22" fmla="*/ 592 w 596"/>
              <a:gd name="T23" fmla="*/ 251 h 599"/>
              <a:gd name="T24" fmla="*/ 588 w 596"/>
              <a:gd name="T25" fmla="*/ 216 h 599"/>
              <a:gd name="T26" fmla="*/ 537 w 596"/>
              <a:gd name="T27" fmla="*/ 188 h 599"/>
              <a:gd name="T28" fmla="*/ 522 w 596"/>
              <a:gd name="T29" fmla="*/ 151 h 599"/>
              <a:gd name="T30" fmla="*/ 526 w 596"/>
              <a:gd name="T31" fmla="*/ 101 h 599"/>
              <a:gd name="T32" fmla="*/ 476 w 596"/>
              <a:gd name="T33" fmla="*/ 99 h 599"/>
              <a:gd name="T34" fmla="*/ 432 w 596"/>
              <a:gd name="T35" fmla="*/ 73 h 599"/>
              <a:gd name="T36" fmla="*/ 416 w 596"/>
              <a:gd name="T37" fmla="*/ 23 h 599"/>
              <a:gd name="T38" fmla="*/ 381 w 596"/>
              <a:gd name="T39" fmla="*/ 20 h 599"/>
              <a:gd name="T40" fmla="*/ 336 w 596"/>
              <a:gd name="T41" fmla="*/ 40 h 599"/>
              <a:gd name="T42" fmla="*/ 301 w 596"/>
              <a:gd name="T43" fmla="*/ 28 h 599"/>
              <a:gd name="T44" fmla="*/ 256 w 596"/>
              <a:gd name="T45" fmla="*/ 3 h 599"/>
              <a:gd name="T46" fmla="*/ 228 w 596"/>
              <a:gd name="T47" fmla="*/ 47 h 599"/>
              <a:gd name="T48" fmla="*/ 188 w 596"/>
              <a:gd name="T49" fmla="*/ 63 h 599"/>
              <a:gd name="T50" fmla="*/ 119 w 596"/>
              <a:gd name="T51" fmla="*/ 60 h 599"/>
              <a:gd name="T52" fmla="*/ 104 w 596"/>
              <a:gd name="T53" fmla="*/ 125 h 599"/>
              <a:gd name="T54" fmla="*/ 66 w 596"/>
              <a:gd name="T55" fmla="*/ 144 h 599"/>
              <a:gd name="T56" fmla="*/ 30 w 596"/>
              <a:gd name="T57" fmla="*/ 168 h 599"/>
              <a:gd name="T58" fmla="*/ 52 w 596"/>
              <a:gd name="T59" fmla="*/ 215 h 599"/>
              <a:gd name="T60" fmla="*/ 42 w 596"/>
              <a:gd name="T61" fmla="*/ 254 h 599"/>
              <a:gd name="T62" fmla="*/ 0 w 596"/>
              <a:gd name="T63" fmla="*/ 285 h 599"/>
              <a:gd name="T64" fmla="*/ 5 w 596"/>
              <a:gd name="T65" fmla="*/ 321 h 599"/>
              <a:gd name="T66" fmla="*/ 45 w 596"/>
              <a:gd name="T67" fmla="*/ 362 h 599"/>
              <a:gd name="T68" fmla="*/ 32 w 596"/>
              <a:gd name="T69" fmla="*/ 412 h 599"/>
              <a:gd name="T70" fmla="*/ 40 w 596"/>
              <a:gd name="T71" fmla="*/ 450 h 599"/>
              <a:gd name="T72" fmla="*/ 92 w 596"/>
              <a:gd name="T73" fmla="*/ 459 h 599"/>
              <a:gd name="T74" fmla="*/ 121 w 596"/>
              <a:gd name="T75" fmla="*/ 497 h 599"/>
              <a:gd name="T76" fmla="*/ 129 w 596"/>
              <a:gd name="T77" fmla="*/ 546 h 599"/>
              <a:gd name="T78" fmla="*/ 178 w 596"/>
              <a:gd name="T79" fmla="*/ 537 h 599"/>
              <a:gd name="T80" fmla="*/ 217 w 596"/>
              <a:gd name="T81" fmla="*/ 548 h 599"/>
              <a:gd name="T82" fmla="*/ 250 w 596"/>
              <a:gd name="T83" fmla="*/ 596 h 599"/>
              <a:gd name="T84" fmla="*/ 274 w 596"/>
              <a:gd name="T85" fmla="*/ 511 h 599"/>
              <a:gd name="T86" fmla="*/ 215 w 596"/>
              <a:gd name="T87" fmla="*/ 495 h 599"/>
              <a:gd name="T88" fmla="*/ 141 w 596"/>
              <a:gd name="T89" fmla="*/ 440 h 599"/>
              <a:gd name="T90" fmla="*/ 94 w 596"/>
              <a:gd name="T91" fmla="*/ 354 h 599"/>
              <a:gd name="T92" fmla="*/ 90 w 596"/>
              <a:gd name="T93" fmla="*/ 264 h 599"/>
              <a:gd name="T94" fmla="*/ 98 w 596"/>
              <a:gd name="T95" fmla="*/ 233 h 599"/>
              <a:gd name="T96" fmla="*/ 141 w 596"/>
              <a:gd name="T97" fmla="*/ 158 h 599"/>
              <a:gd name="T98" fmla="*/ 225 w 596"/>
              <a:gd name="T99" fmla="*/ 100 h 599"/>
              <a:gd name="T100" fmla="*/ 310 w 596"/>
              <a:gd name="T101" fmla="*/ 87 h 599"/>
              <a:gd name="T102" fmla="*/ 342 w 596"/>
              <a:gd name="T103" fmla="*/ 91 h 599"/>
              <a:gd name="T104" fmla="*/ 425 w 596"/>
              <a:gd name="T105" fmla="*/ 127 h 599"/>
              <a:gd name="T106" fmla="*/ 489 w 596"/>
              <a:gd name="T107" fmla="*/ 201 h 599"/>
              <a:gd name="T108" fmla="*/ 513 w 596"/>
              <a:gd name="T109" fmla="*/ 291 h 599"/>
              <a:gd name="T110" fmla="*/ 507 w 596"/>
              <a:gd name="T111" fmla="*/ 351 h 599"/>
              <a:gd name="T112" fmla="*/ 480 w 596"/>
              <a:gd name="T113" fmla="*/ 413 h 599"/>
              <a:gd name="T114" fmla="*/ 420 w 596"/>
              <a:gd name="T115" fmla="*/ 475 h 599"/>
              <a:gd name="T116" fmla="*/ 341 w 596"/>
              <a:gd name="T117" fmla="*/ 509 h 599"/>
              <a:gd name="T118" fmla="*/ 274 w 596"/>
              <a:gd name="T119" fmla="*/ 51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6" h="599">
                <a:moveTo>
                  <a:pt x="285" y="595"/>
                </a:moveTo>
                <a:cubicBezTo>
                  <a:pt x="285" y="595"/>
                  <a:pt x="287" y="593"/>
                  <a:pt x="288" y="591"/>
                </a:cubicBezTo>
                <a:cubicBezTo>
                  <a:pt x="290" y="588"/>
                  <a:pt x="292" y="584"/>
                  <a:pt x="294" y="581"/>
                </a:cubicBezTo>
                <a:cubicBezTo>
                  <a:pt x="298" y="574"/>
                  <a:pt x="302" y="566"/>
                  <a:pt x="302" y="566"/>
                </a:cubicBezTo>
                <a:cubicBezTo>
                  <a:pt x="303" y="564"/>
                  <a:pt x="306" y="562"/>
                  <a:pt x="310" y="562"/>
                </a:cubicBezTo>
                <a:cubicBezTo>
                  <a:pt x="310" y="562"/>
                  <a:pt x="315" y="562"/>
                  <a:pt x="320" y="561"/>
                </a:cubicBezTo>
                <a:cubicBezTo>
                  <a:pt x="323" y="561"/>
                  <a:pt x="326" y="561"/>
                  <a:pt x="328" y="561"/>
                </a:cubicBezTo>
                <a:cubicBezTo>
                  <a:pt x="330" y="560"/>
                  <a:pt x="331" y="560"/>
                  <a:pt x="331" y="560"/>
                </a:cubicBezTo>
                <a:cubicBezTo>
                  <a:pt x="331" y="560"/>
                  <a:pt x="332" y="560"/>
                  <a:pt x="334" y="560"/>
                </a:cubicBezTo>
                <a:cubicBezTo>
                  <a:pt x="336" y="559"/>
                  <a:pt x="339" y="559"/>
                  <a:pt x="342" y="559"/>
                </a:cubicBezTo>
                <a:cubicBezTo>
                  <a:pt x="347" y="558"/>
                  <a:pt x="352" y="557"/>
                  <a:pt x="352" y="557"/>
                </a:cubicBezTo>
                <a:cubicBezTo>
                  <a:pt x="355" y="556"/>
                  <a:pt x="359" y="557"/>
                  <a:pt x="361" y="559"/>
                </a:cubicBezTo>
                <a:cubicBezTo>
                  <a:pt x="361" y="559"/>
                  <a:pt x="362" y="561"/>
                  <a:pt x="364" y="563"/>
                </a:cubicBezTo>
                <a:cubicBezTo>
                  <a:pt x="366" y="566"/>
                  <a:pt x="369" y="569"/>
                  <a:pt x="372" y="572"/>
                </a:cubicBezTo>
                <a:cubicBezTo>
                  <a:pt x="377" y="578"/>
                  <a:pt x="383" y="583"/>
                  <a:pt x="383" y="583"/>
                </a:cubicBezTo>
                <a:cubicBezTo>
                  <a:pt x="386" y="586"/>
                  <a:pt x="389" y="587"/>
                  <a:pt x="393" y="585"/>
                </a:cubicBezTo>
                <a:cubicBezTo>
                  <a:pt x="393" y="585"/>
                  <a:pt x="395" y="585"/>
                  <a:pt x="397" y="584"/>
                </a:cubicBezTo>
                <a:cubicBezTo>
                  <a:pt x="399" y="583"/>
                  <a:pt x="403" y="582"/>
                  <a:pt x="406" y="581"/>
                </a:cubicBezTo>
                <a:cubicBezTo>
                  <a:pt x="409" y="580"/>
                  <a:pt x="412" y="578"/>
                  <a:pt x="415" y="577"/>
                </a:cubicBezTo>
                <a:cubicBezTo>
                  <a:pt x="417" y="576"/>
                  <a:pt x="418" y="576"/>
                  <a:pt x="418" y="576"/>
                </a:cubicBezTo>
                <a:cubicBezTo>
                  <a:pt x="422" y="574"/>
                  <a:pt x="424" y="571"/>
                  <a:pt x="424" y="568"/>
                </a:cubicBezTo>
                <a:cubicBezTo>
                  <a:pt x="424" y="568"/>
                  <a:pt x="425" y="560"/>
                  <a:pt x="425" y="551"/>
                </a:cubicBezTo>
                <a:cubicBezTo>
                  <a:pt x="426" y="543"/>
                  <a:pt x="426" y="535"/>
                  <a:pt x="426" y="535"/>
                </a:cubicBezTo>
                <a:cubicBezTo>
                  <a:pt x="426" y="532"/>
                  <a:pt x="427" y="529"/>
                  <a:pt x="430" y="527"/>
                </a:cubicBezTo>
                <a:cubicBezTo>
                  <a:pt x="430" y="527"/>
                  <a:pt x="431" y="527"/>
                  <a:pt x="433" y="526"/>
                </a:cubicBezTo>
                <a:cubicBezTo>
                  <a:pt x="435" y="525"/>
                  <a:pt x="437" y="523"/>
                  <a:pt x="439" y="522"/>
                </a:cubicBezTo>
                <a:cubicBezTo>
                  <a:pt x="444" y="519"/>
                  <a:pt x="448" y="516"/>
                  <a:pt x="448" y="516"/>
                </a:cubicBezTo>
                <a:cubicBezTo>
                  <a:pt x="448" y="516"/>
                  <a:pt x="453" y="513"/>
                  <a:pt x="457" y="510"/>
                </a:cubicBezTo>
                <a:cubicBezTo>
                  <a:pt x="459" y="508"/>
                  <a:pt x="461" y="506"/>
                  <a:pt x="463" y="505"/>
                </a:cubicBezTo>
                <a:cubicBezTo>
                  <a:pt x="465" y="504"/>
                  <a:pt x="466" y="503"/>
                  <a:pt x="466" y="503"/>
                </a:cubicBezTo>
                <a:cubicBezTo>
                  <a:pt x="468" y="501"/>
                  <a:pt x="472" y="500"/>
                  <a:pt x="475" y="502"/>
                </a:cubicBezTo>
                <a:cubicBezTo>
                  <a:pt x="475" y="502"/>
                  <a:pt x="482" y="505"/>
                  <a:pt x="490" y="507"/>
                </a:cubicBezTo>
                <a:cubicBezTo>
                  <a:pt x="498" y="510"/>
                  <a:pt x="506" y="512"/>
                  <a:pt x="506" y="512"/>
                </a:cubicBezTo>
                <a:cubicBezTo>
                  <a:pt x="509" y="513"/>
                  <a:pt x="512" y="512"/>
                  <a:pt x="515" y="509"/>
                </a:cubicBezTo>
                <a:cubicBezTo>
                  <a:pt x="515" y="509"/>
                  <a:pt x="516" y="508"/>
                  <a:pt x="518" y="506"/>
                </a:cubicBezTo>
                <a:cubicBezTo>
                  <a:pt x="520" y="505"/>
                  <a:pt x="522" y="502"/>
                  <a:pt x="524" y="500"/>
                </a:cubicBezTo>
                <a:cubicBezTo>
                  <a:pt x="527" y="497"/>
                  <a:pt x="529" y="494"/>
                  <a:pt x="530" y="492"/>
                </a:cubicBezTo>
                <a:cubicBezTo>
                  <a:pt x="532" y="490"/>
                  <a:pt x="533" y="489"/>
                  <a:pt x="533" y="489"/>
                </a:cubicBezTo>
                <a:cubicBezTo>
                  <a:pt x="536" y="486"/>
                  <a:pt x="536" y="483"/>
                  <a:pt x="535" y="480"/>
                </a:cubicBezTo>
                <a:cubicBezTo>
                  <a:pt x="535" y="480"/>
                  <a:pt x="532" y="472"/>
                  <a:pt x="528" y="464"/>
                </a:cubicBezTo>
                <a:cubicBezTo>
                  <a:pt x="526" y="461"/>
                  <a:pt x="525" y="457"/>
                  <a:pt x="523" y="454"/>
                </a:cubicBezTo>
                <a:cubicBezTo>
                  <a:pt x="522" y="452"/>
                  <a:pt x="521" y="450"/>
                  <a:pt x="521" y="450"/>
                </a:cubicBezTo>
                <a:cubicBezTo>
                  <a:pt x="519" y="447"/>
                  <a:pt x="519" y="444"/>
                  <a:pt x="521" y="441"/>
                </a:cubicBezTo>
                <a:cubicBezTo>
                  <a:pt x="521" y="441"/>
                  <a:pt x="524" y="436"/>
                  <a:pt x="527" y="432"/>
                </a:cubicBezTo>
                <a:cubicBezTo>
                  <a:pt x="528" y="429"/>
                  <a:pt x="529" y="427"/>
                  <a:pt x="530" y="425"/>
                </a:cubicBezTo>
                <a:cubicBezTo>
                  <a:pt x="531" y="423"/>
                  <a:pt x="532" y="422"/>
                  <a:pt x="532" y="422"/>
                </a:cubicBezTo>
                <a:cubicBezTo>
                  <a:pt x="532" y="422"/>
                  <a:pt x="533" y="421"/>
                  <a:pt x="534" y="419"/>
                </a:cubicBezTo>
                <a:cubicBezTo>
                  <a:pt x="534" y="417"/>
                  <a:pt x="536" y="415"/>
                  <a:pt x="537" y="413"/>
                </a:cubicBezTo>
                <a:cubicBezTo>
                  <a:pt x="539" y="408"/>
                  <a:pt x="541" y="403"/>
                  <a:pt x="541" y="403"/>
                </a:cubicBezTo>
                <a:cubicBezTo>
                  <a:pt x="542" y="400"/>
                  <a:pt x="545" y="398"/>
                  <a:pt x="548" y="397"/>
                </a:cubicBezTo>
                <a:cubicBezTo>
                  <a:pt x="548" y="397"/>
                  <a:pt x="556" y="397"/>
                  <a:pt x="565" y="395"/>
                </a:cubicBezTo>
                <a:cubicBezTo>
                  <a:pt x="569" y="395"/>
                  <a:pt x="573" y="394"/>
                  <a:pt x="576" y="393"/>
                </a:cubicBezTo>
                <a:cubicBezTo>
                  <a:pt x="579" y="393"/>
                  <a:pt x="581" y="392"/>
                  <a:pt x="581" y="392"/>
                </a:cubicBezTo>
                <a:cubicBezTo>
                  <a:pt x="584" y="392"/>
                  <a:pt x="587" y="389"/>
                  <a:pt x="588" y="385"/>
                </a:cubicBezTo>
                <a:cubicBezTo>
                  <a:pt x="588" y="385"/>
                  <a:pt x="588" y="384"/>
                  <a:pt x="589" y="381"/>
                </a:cubicBezTo>
                <a:cubicBezTo>
                  <a:pt x="590" y="379"/>
                  <a:pt x="591" y="376"/>
                  <a:pt x="591" y="372"/>
                </a:cubicBezTo>
                <a:cubicBezTo>
                  <a:pt x="592" y="369"/>
                  <a:pt x="593" y="366"/>
                  <a:pt x="594" y="363"/>
                </a:cubicBezTo>
                <a:cubicBezTo>
                  <a:pt x="594" y="361"/>
                  <a:pt x="594" y="359"/>
                  <a:pt x="594" y="359"/>
                </a:cubicBezTo>
                <a:cubicBezTo>
                  <a:pt x="595" y="356"/>
                  <a:pt x="594" y="352"/>
                  <a:pt x="592" y="350"/>
                </a:cubicBezTo>
                <a:cubicBezTo>
                  <a:pt x="592" y="350"/>
                  <a:pt x="585" y="344"/>
                  <a:pt x="579" y="340"/>
                </a:cubicBezTo>
                <a:cubicBezTo>
                  <a:pt x="575" y="337"/>
                  <a:pt x="572" y="335"/>
                  <a:pt x="569" y="333"/>
                </a:cubicBezTo>
                <a:cubicBezTo>
                  <a:pt x="567" y="331"/>
                  <a:pt x="565" y="330"/>
                  <a:pt x="565" y="330"/>
                </a:cubicBezTo>
                <a:cubicBezTo>
                  <a:pt x="563" y="328"/>
                  <a:pt x="561" y="325"/>
                  <a:pt x="561" y="322"/>
                </a:cubicBezTo>
                <a:cubicBezTo>
                  <a:pt x="561" y="322"/>
                  <a:pt x="562" y="317"/>
                  <a:pt x="562" y="311"/>
                </a:cubicBezTo>
                <a:cubicBezTo>
                  <a:pt x="562" y="306"/>
                  <a:pt x="562" y="300"/>
                  <a:pt x="562" y="300"/>
                </a:cubicBezTo>
                <a:cubicBezTo>
                  <a:pt x="562" y="300"/>
                  <a:pt x="562" y="299"/>
                  <a:pt x="562" y="297"/>
                </a:cubicBezTo>
                <a:cubicBezTo>
                  <a:pt x="562" y="295"/>
                  <a:pt x="562" y="292"/>
                  <a:pt x="562" y="290"/>
                </a:cubicBezTo>
                <a:cubicBezTo>
                  <a:pt x="562" y="287"/>
                  <a:pt x="562" y="284"/>
                  <a:pt x="562" y="282"/>
                </a:cubicBezTo>
                <a:cubicBezTo>
                  <a:pt x="562" y="280"/>
                  <a:pt x="562" y="279"/>
                  <a:pt x="562" y="279"/>
                </a:cubicBezTo>
                <a:cubicBezTo>
                  <a:pt x="561" y="276"/>
                  <a:pt x="563" y="273"/>
                  <a:pt x="565" y="271"/>
                </a:cubicBezTo>
                <a:cubicBezTo>
                  <a:pt x="565" y="271"/>
                  <a:pt x="572" y="266"/>
                  <a:pt x="579" y="261"/>
                </a:cubicBezTo>
                <a:cubicBezTo>
                  <a:pt x="586" y="257"/>
                  <a:pt x="592" y="251"/>
                  <a:pt x="592" y="251"/>
                </a:cubicBezTo>
                <a:cubicBezTo>
                  <a:pt x="594" y="249"/>
                  <a:pt x="596" y="246"/>
                  <a:pt x="595" y="242"/>
                </a:cubicBezTo>
                <a:cubicBezTo>
                  <a:pt x="595" y="242"/>
                  <a:pt x="595" y="242"/>
                  <a:pt x="595" y="241"/>
                </a:cubicBezTo>
                <a:cubicBezTo>
                  <a:pt x="595" y="240"/>
                  <a:pt x="594" y="239"/>
                  <a:pt x="594" y="238"/>
                </a:cubicBezTo>
                <a:cubicBezTo>
                  <a:pt x="593" y="235"/>
                  <a:pt x="593" y="232"/>
                  <a:pt x="592" y="229"/>
                </a:cubicBezTo>
                <a:cubicBezTo>
                  <a:pt x="591" y="225"/>
                  <a:pt x="590" y="222"/>
                  <a:pt x="590" y="220"/>
                </a:cubicBezTo>
                <a:cubicBezTo>
                  <a:pt x="589" y="217"/>
                  <a:pt x="588" y="216"/>
                  <a:pt x="588" y="216"/>
                </a:cubicBezTo>
                <a:cubicBezTo>
                  <a:pt x="587" y="212"/>
                  <a:pt x="585" y="209"/>
                  <a:pt x="582" y="209"/>
                </a:cubicBezTo>
                <a:cubicBezTo>
                  <a:pt x="582" y="209"/>
                  <a:pt x="573" y="207"/>
                  <a:pt x="565" y="206"/>
                </a:cubicBezTo>
                <a:cubicBezTo>
                  <a:pt x="561" y="205"/>
                  <a:pt x="557" y="204"/>
                  <a:pt x="554" y="204"/>
                </a:cubicBezTo>
                <a:cubicBezTo>
                  <a:pt x="551" y="204"/>
                  <a:pt x="549" y="203"/>
                  <a:pt x="549" y="203"/>
                </a:cubicBezTo>
                <a:cubicBezTo>
                  <a:pt x="546" y="203"/>
                  <a:pt x="543" y="201"/>
                  <a:pt x="542" y="198"/>
                </a:cubicBezTo>
                <a:cubicBezTo>
                  <a:pt x="542" y="198"/>
                  <a:pt x="540" y="193"/>
                  <a:pt x="537" y="188"/>
                </a:cubicBezTo>
                <a:cubicBezTo>
                  <a:pt x="536" y="186"/>
                  <a:pt x="535" y="183"/>
                  <a:pt x="534" y="182"/>
                </a:cubicBezTo>
                <a:cubicBezTo>
                  <a:pt x="533" y="180"/>
                  <a:pt x="533" y="179"/>
                  <a:pt x="533" y="179"/>
                </a:cubicBezTo>
                <a:cubicBezTo>
                  <a:pt x="533" y="179"/>
                  <a:pt x="530" y="174"/>
                  <a:pt x="527" y="169"/>
                </a:cubicBezTo>
                <a:cubicBezTo>
                  <a:pt x="526" y="167"/>
                  <a:pt x="525" y="164"/>
                  <a:pt x="524" y="163"/>
                </a:cubicBezTo>
                <a:cubicBezTo>
                  <a:pt x="523" y="161"/>
                  <a:pt x="522" y="160"/>
                  <a:pt x="522" y="160"/>
                </a:cubicBezTo>
                <a:cubicBezTo>
                  <a:pt x="520" y="157"/>
                  <a:pt x="520" y="154"/>
                  <a:pt x="522" y="151"/>
                </a:cubicBezTo>
                <a:cubicBezTo>
                  <a:pt x="522" y="151"/>
                  <a:pt x="523" y="149"/>
                  <a:pt x="524" y="146"/>
                </a:cubicBezTo>
                <a:cubicBezTo>
                  <a:pt x="525" y="144"/>
                  <a:pt x="527" y="140"/>
                  <a:pt x="529" y="136"/>
                </a:cubicBezTo>
                <a:cubicBezTo>
                  <a:pt x="533" y="129"/>
                  <a:pt x="536" y="121"/>
                  <a:pt x="536" y="121"/>
                </a:cubicBezTo>
                <a:cubicBezTo>
                  <a:pt x="537" y="118"/>
                  <a:pt x="537" y="115"/>
                  <a:pt x="534" y="112"/>
                </a:cubicBezTo>
                <a:cubicBezTo>
                  <a:pt x="534" y="112"/>
                  <a:pt x="533" y="110"/>
                  <a:pt x="532" y="108"/>
                </a:cubicBezTo>
                <a:cubicBezTo>
                  <a:pt x="530" y="106"/>
                  <a:pt x="528" y="104"/>
                  <a:pt x="526" y="101"/>
                </a:cubicBezTo>
                <a:cubicBezTo>
                  <a:pt x="523" y="99"/>
                  <a:pt x="521" y="96"/>
                  <a:pt x="519" y="94"/>
                </a:cubicBezTo>
                <a:cubicBezTo>
                  <a:pt x="518" y="92"/>
                  <a:pt x="516" y="91"/>
                  <a:pt x="516" y="91"/>
                </a:cubicBezTo>
                <a:cubicBezTo>
                  <a:pt x="514" y="89"/>
                  <a:pt x="510" y="87"/>
                  <a:pt x="507" y="88"/>
                </a:cubicBezTo>
                <a:cubicBezTo>
                  <a:pt x="507" y="88"/>
                  <a:pt x="505" y="89"/>
                  <a:pt x="502" y="90"/>
                </a:cubicBezTo>
                <a:cubicBezTo>
                  <a:pt x="499" y="91"/>
                  <a:pt x="495" y="92"/>
                  <a:pt x="491" y="93"/>
                </a:cubicBezTo>
                <a:cubicBezTo>
                  <a:pt x="483" y="96"/>
                  <a:pt x="476" y="99"/>
                  <a:pt x="476" y="99"/>
                </a:cubicBezTo>
                <a:cubicBezTo>
                  <a:pt x="473" y="100"/>
                  <a:pt x="469" y="99"/>
                  <a:pt x="467" y="97"/>
                </a:cubicBezTo>
                <a:cubicBezTo>
                  <a:pt x="467" y="97"/>
                  <a:pt x="463" y="94"/>
                  <a:pt x="458" y="91"/>
                </a:cubicBezTo>
                <a:cubicBezTo>
                  <a:pt x="456" y="89"/>
                  <a:pt x="454" y="87"/>
                  <a:pt x="453" y="86"/>
                </a:cubicBezTo>
                <a:cubicBezTo>
                  <a:pt x="451" y="85"/>
                  <a:pt x="450" y="84"/>
                  <a:pt x="450" y="84"/>
                </a:cubicBezTo>
                <a:cubicBezTo>
                  <a:pt x="450" y="84"/>
                  <a:pt x="445" y="81"/>
                  <a:pt x="441" y="78"/>
                </a:cubicBezTo>
                <a:cubicBezTo>
                  <a:pt x="436" y="76"/>
                  <a:pt x="432" y="73"/>
                  <a:pt x="432" y="73"/>
                </a:cubicBezTo>
                <a:cubicBezTo>
                  <a:pt x="429" y="71"/>
                  <a:pt x="427" y="68"/>
                  <a:pt x="427" y="65"/>
                </a:cubicBezTo>
                <a:cubicBezTo>
                  <a:pt x="427" y="65"/>
                  <a:pt x="427" y="63"/>
                  <a:pt x="427" y="60"/>
                </a:cubicBezTo>
                <a:cubicBezTo>
                  <a:pt x="427" y="57"/>
                  <a:pt x="427" y="53"/>
                  <a:pt x="427" y="49"/>
                </a:cubicBezTo>
                <a:cubicBezTo>
                  <a:pt x="427" y="40"/>
                  <a:pt x="426" y="32"/>
                  <a:pt x="426" y="32"/>
                </a:cubicBezTo>
                <a:cubicBezTo>
                  <a:pt x="426" y="29"/>
                  <a:pt x="423" y="26"/>
                  <a:pt x="420" y="24"/>
                </a:cubicBezTo>
                <a:cubicBezTo>
                  <a:pt x="420" y="24"/>
                  <a:pt x="418" y="24"/>
                  <a:pt x="416" y="23"/>
                </a:cubicBezTo>
                <a:cubicBezTo>
                  <a:pt x="414" y="22"/>
                  <a:pt x="411" y="20"/>
                  <a:pt x="407" y="19"/>
                </a:cubicBezTo>
                <a:cubicBezTo>
                  <a:pt x="404" y="18"/>
                  <a:pt x="401" y="17"/>
                  <a:pt x="399" y="16"/>
                </a:cubicBezTo>
                <a:cubicBezTo>
                  <a:pt x="397" y="16"/>
                  <a:pt x="396" y="15"/>
                  <a:pt x="396" y="15"/>
                </a:cubicBezTo>
                <a:cubicBezTo>
                  <a:pt x="395" y="15"/>
                  <a:pt x="395" y="15"/>
                  <a:pt x="395" y="15"/>
                </a:cubicBezTo>
                <a:cubicBezTo>
                  <a:pt x="391" y="14"/>
                  <a:pt x="387" y="14"/>
                  <a:pt x="385" y="16"/>
                </a:cubicBezTo>
                <a:cubicBezTo>
                  <a:pt x="385" y="16"/>
                  <a:pt x="384" y="18"/>
                  <a:pt x="381" y="20"/>
                </a:cubicBezTo>
                <a:cubicBezTo>
                  <a:pt x="379" y="22"/>
                  <a:pt x="376" y="25"/>
                  <a:pt x="373" y="28"/>
                </a:cubicBezTo>
                <a:cubicBezTo>
                  <a:pt x="368" y="34"/>
                  <a:pt x="362" y="40"/>
                  <a:pt x="362" y="40"/>
                </a:cubicBezTo>
                <a:cubicBezTo>
                  <a:pt x="360" y="43"/>
                  <a:pt x="357" y="44"/>
                  <a:pt x="354" y="43"/>
                </a:cubicBezTo>
                <a:cubicBezTo>
                  <a:pt x="354" y="43"/>
                  <a:pt x="352" y="43"/>
                  <a:pt x="350" y="42"/>
                </a:cubicBezTo>
                <a:cubicBezTo>
                  <a:pt x="349" y="42"/>
                  <a:pt x="346" y="42"/>
                  <a:pt x="343" y="41"/>
                </a:cubicBezTo>
                <a:cubicBezTo>
                  <a:pt x="341" y="41"/>
                  <a:pt x="338" y="40"/>
                  <a:pt x="336" y="40"/>
                </a:cubicBezTo>
                <a:cubicBezTo>
                  <a:pt x="334" y="40"/>
                  <a:pt x="333" y="40"/>
                  <a:pt x="333" y="40"/>
                </a:cubicBezTo>
                <a:cubicBezTo>
                  <a:pt x="333" y="40"/>
                  <a:pt x="331" y="39"/>
                  <a:pt x="329" y="39"/>
                </a:cubicBezTo>
                <a:cubicBezTo>
                  <a:pt x="327" y="39"/>
                  <a:pt x="325" y="39"/>
                  <a:pt x="322" y="38"/>
                </a:cubicBezTo>
                <a:cubicBezTo>
                  <a:pt x="316" y="38"/>
                  <a:pt x="311" y="38"/>
                  <a:pt x="311" y="38"/>
                </a:cubicBezTo>
                <a:cubicBezTo>
                  <a:pt x="308" y="38"/>
                  <a:pt x="305" y="36"/>
                  <a:pt x="304" y="33"/>
                </a:cubicBezTo>
                <a:cubicBezTo>
                  <a:pt x="304" y="33"/>
                  <a:pt x="303" y="31"/>
                  <a:pt x="301" y="28"/>
                </a:cubicBezTo>
                <a:cubicBezTo>
                  <a:pt x="300" y="26"/>
                  <a:pt x="298" y="22"/>
                  <a:pt x="296" y="18"/>
                </a:cubicBezTo>
                <a:cubicBezTo>
                  <a:pt x="292" y="11"/>
                  <a:pt x="287" y="4"/>
                  <a:pt x="287" y="4"/>
                </a:cubicBezTo>
                <a:cubicBezTo>
                  <a:pt x="286" y="1"/>
                  <a:pt x="282" y="0"/>
                  <a:pt x="278" y="0"/>
                </a:cubicBezTo>
                <a:cubicBezTo>
                  <a:pt x="278" y="0"/>
                  <a:pt x="277" y="0"/>
                  <a:pt x="274" y="1"/>
                </a:cubicBezTo>
                <a:cubicBezTo>
                  <a:pt x="272" y="1"/>
                  <a:pt x="268" y="1"/>
                  <a:pt x="265" y="1"/>
                </a:cubicBezTo>
                <a:cubicBezTo>
                  <a:pt x="262" y="2"/>
                  <a:pt x="258" y="2"/>
                  <a:pt x="256" y="3"/>
                </a:cubicBezTo>
                <a:cubicBezTo>
                  <a:pt x="253" y="3"/>
                  <a:pt x="251" y="3"/>
                  <a:pt x="251" y="3"/>
                </a:cubicBezTo>
                <a:cubicBezTo>
                  <a:pt x="248" y="4"/>
                  <a:pt x="245" y="6"/>
                  <a:pt x="244" y="9"/>
                </a:cubicBezTo>
                <a:cubicBezTo>
                  <a:pt x="244" y="9"/>
                  <a:pt x="243" y="11"/>
                  <a:pt x="242" y="14"/>
                </a:cubicBezTo>
                <a:cubicBezTo>
                  <a:pt x="241" y="17"/>
                  <a:pt x="240" y="21"/>
                  <a:pt x="239" y="25"/>
                </a:cubicBezTo>
                <a:cubicBezTo>
                  <a:pt x="236" y="33"/>
                  <a:pt x="235" y="41"/>
                  <a:pt x="235" y="41"/>
                </a:cubicBezTo>
                <a:cubicBezTo>
                  <a:pt x="234" y="44"/>
                  <a:pt x="231" y="47"/>
                  <a:pt x="228" y="47"/>
                </a:cubicBezTo>
                <a:cubicBezTo>
                  <a:pt x="228" y="47"/>
                  <a:pt x="227" y="48"/>
                  <a:pt x="225" y="48"/>
                </a:cubicBezTo>
                <a:cubicBezTo>
                  <a:pt x="223" y="49"/>
                  <a:pt x="221" y="50"/>
                  <a:pt x="218" y="51"/>
                </a:cubicBezTo>
                <a:cubicBezTo>
                  <a:pt x="216" y="51"/>
                  <a:pt x="213" y="52"/>
                  <a:pt x="211" y="53"/>
                </a:cubicBezTo>
                <a:cubicBezTo>
                  <a:pt x="209" y="54"/>
                  <a:pt x="208" y="54"/>
                  <a:pt x="208" y="54"/>
                </a:cubicBezTo>
                <a:cubicBezTo>
                  <a:pt x="208" y="54"/>
                  <a:pt x="203" y="56"/>
                  <a:pt x="198" y="58"/>
                </a:cubicBezTo>
                <a:cubicBezTo>
                  <a:pt x="193" y="60"/>
                  <a:pt x="188" y="63"/>
                  <a:pt x="188" y="63"/>
                </a:cubicBezTo>
                <a:cubicBezTo>
                  <a:pt x="185" y="64"/>
                  <a:pt x="182" y="64"/>
                  <a:pt x="179" y="62"/>
                </a:cubicBezTo>
                <a:cubicBezTo>
                  <a:pt x="179" y="62"/>
                  <a:pt x="173" y="57"/>
                  <a:pt x="166" y="53"/>
                </a:cubicBezTo>
                <a:cubicBezTo>
                  <a:pt x="159" y="48"/>
                  <a:pt x="151" y="44"/>
                  <a:pt x="151" y="44"/>
                </a:cubicBezTo>
                <a:cubicBezTo>
                  <a:pt x="149" y="43"/>
                  <a:pt x="145" y="43"/>
                  <a:pt x="142" y="45"/>
                </a:cubicBezTo>
                <a:cubicBezTo>
                  <a:pt x="142" y="45"/>
                  <a:pt x="136" y="48"/>
                  <a:pt x="130" y="52"/>
                </a:cubicBezTo>
                <a:cubicBezTo>
                  <a:pt x="125" y="56"/>
                  <a:pt x="119" y="60"/>
                  <a:pt x="119" y="60"/>
                </a:cubicBezTo>
                <a:cubicBezTo>
                  <a:pt x="116" y="62"/>
                  <a:pt x="115" y="66"/>
                  <a:pt x="115" y="69"/>
                </a:cubicBezTo>
                <a:cubicBezTo>
                  <a:pt x="115" y="69"/>
                  <a:pt x="117" y="77"/>
                  <a:pt x="118" y="85"/>
                </a:cubicBezTo>
                <a:cubicBezTo>
                  <a:pt x="120" y="93"/>
                  <a:pt x="122" y="101"/>
                  <a:pt x="122" y="101"/>
                </a:cubicBezTo>
                <a:cubicBezTo>
                  <a:pt x="123" y="104"/>
                  <a:pt x="122" y="107"/>
                  <a:pt x="119" y="110"/>
                </a:cubicBezTo>
                <a:cubicBezTo>
                  <a:pt x="119" y="110"/>
                  <a:pt x="116" y="114"/>
                  <a:pt x="112" y="117"/>
                </a:cubicBezTo>
                <a:cubicBezTo>
                  <a:pt x="108" y="121"/>
                  <a:pt x="104" y="125"/>
                  <a:pt x="104" y="125"/>
                </a:cubicBezTo>
                <a:cubicBezTo>
                  <a:pt x="104" y="125"/>
                  <a:pt x="103" y="126"/>
                  <a:pt x="102" y="128"/>
                </a:cubicBezTo>
                <a:cubicBezTo>
                  <a:pt x="101" y="129"/>
                  <a:pt x="99" y="131"/>
                  <a:pt x="97" y="133"/>
                </a:cubicBezTo>
                <a:cubicBezTo>
                  <a:pt x="96" y="135"/>
                  <a:pt x="94" y="138"/>
                  <a:pt x="93" y="139"/>
                </a:cubicBezTo>
                <a:cubicBezTo>
                  <a:pt x="92" y="141"/>
                  <a:pt x="91" y="142"/>
                  <a:pt x="91" y="142"/>
                </a:cubicBezTo>
                <a:cubicBezTo>
                  <a:pt x="89" y="144"/>
                  <a:pt x="86" y="146"/>
                  <a:pt x="82" y="145"/>
                </a:cubicBezTo>
                <a:cubicBezTo>
                  <a:pt x="82" y="145"/>
                  <a:pt x="74" y="144"/>
                  <a:pt x="66" y="144"/>
                </a:cubicBezTo>
                <a:cubicBezTo>
                  <a:pt x="62" y="143"/>
                  <a:pt x="58" y="143"/>
                  <a:pt x="55" y="143"/>
                </a:cubicBezTo>
                <a:cubicBezTo>
                  <a:pt x="52" y="143"/>
                  <a:pt x="50" y="142"/>
                  <a:pt x="50" y="142"/>
                </a:cubicBezTo>
                <a:cubicBezTo>
                  <a:pt x="46" y="142"/>
                  <a:pt x="43" y="144"/>
                  <a:pt x="41" y="147"/>
                </a:cubicBezTo>
                <a:cubicBezTo>
                  <a:pt x="41" y="147"/>
                  <a:pt x="40" y="149"/>
                  <a:pt x="39" y="151"/>
                </a:cubicBezTo>
                <a:cubicBezTo>
                  <a:pt x="38" y="153"/>
                  <a:pt x="36" y="156"/>
                  <a:pt x="35" y="159"/>
                </a:cubicBezTo>
                <a:cubicBezTo>
                  <a:pt x="33" y="162"/>
                  <a:pt x="32" y="165"/>
                  <a:pt x="30" y="168"/>
                </a:cubicBezTo>
                <a:cubicBezTo>
                  <a:pt x="29" y="170"/>
                  <a:pt x="29" y="172"/>
                  <a:pt x="29" y="172"/>
                </a:cubicBezTo>
                <a:cubicBezTo>
                  <a:pt x="27" y="175"/>
                  <a:pt x="27" y="179"/>
                  <a:pt x="29" y="181"/>
                </a:cubicBezTo>
                <a:cubicBezTo>
                  <a:pt x="29" y="181"/>
                  <a:pt x="34" y="188"/>
                  <a:pt x="39" y="194"/>
                </a:cubicBezTo>
                <a:cubicBezTo>
                  <a:pt x="42" y="198"/>
                  <a:pt x="45" y="201"/>
                  <a:pt x="47" y="203"/>
                </a:cubicBezTo>
                <a:cubicBezTo>
                  <a:pt x="49" y="205"/>
                  <a:pt x="50" y="207"/>
                  <a:pt x="50" y="207"/>
                </a:cubicBezTo>
                <a:cubicBezTo>
                  <a:pt x="52" y="209"/>
                  <a:pt x="53" y="212"/>
                  <a:pt x="52" y="215"/>
                </a:cubicBezTo>
                <a:cubicBezTo>
                  <a:pt x="52" y="215"/>
                  <a:pt x="50" y="221"/>
                  <a:pt x="49" y="226"/>
                </a:cubicBezTo>
                <a:cubicBezTo>
                  <a:pt x="48" y="228"/>
                  <a:pt x="47" y="231"/>
                  <a:pt x="47" y="233"/>
                </a:cubicBezTo>
                <a:cubicBezTo>
                  <a:pt x="46" y="235"/>
                  <a:pt x="46" y="236"/>
                  <a:pt x="46" y="236"/>
                </a:cubicBezTo>
                <a:cubicBezTo>
                  <a:pt x="46" y="236"/>
                  <a:pt x="45" y="237"/>
                  <a:pt x="45" y="239"/>
                </a:cubicBezTo>
                <a:cubicBezTo>
                  <a:pt x="45" y="241"/>
                  <a:pt x="44" y="244"/>
                  <a:pt x="43" y="247"/>
                </a:cubicBezTo>
                <a:cubicBezTo>
                  <a:pt x="43" y="249"/>
                  <a:pt x="42" y="252"/>
                  <a:pt x="42" y="254"/>
                </a:cubicBezTo>
                <a:cubicBezTo>
                  <a:pt x="42" y="256"/>
                  <a:pt x="41" y="257"/>
                  <a:pt x="41" y="257"/>
                </a:cubicBezTo>
                <a:cubicBezTo>
                  <a:pt x="41" y="260"/>
                  <a:pt x="39" y="263"/>
                  <a:pt x="36" y="264"/>
                </a:cubicBezTo>
                <a:cubicBezTo>
                  <a:pt x="36" y="264"/>
                  <a:pt x="28" y="267"/>
                  <a:pt x="21" y="270"/>
                </a:cubicBezTo>
                <a:cubicBezTo>
                  <a:pt x="17" y="272"/>
                  <a:pt x="13" y="273"/>
                  <a:pt x="10" y="275"/>
                </a:cubicBezTo>
                <a:cubicBezTo>
                  <a:pt x="7" y="276"/>
                  <a:pt x="5" y="277"/>
                  <a:pt x="5" y="277"/>
                </a:cubicBezTo>
                <a:cubicBezTo>
                  <a:pt x="2" y="278"/>
                  <a:pt x="0" y="281"/>
                  <a:pt x="0" y="285"/>
                </a:cubicBezTo>
                <a:cubicBezTo>
                  <a:pt x="0" y="285"/>
                  <a:pt x="0" y="286"/>
                  <a:pt x="0" y="286"/>
                </a:cubicBezTo>
                <a:cubicBezTo>
                  <a:pt x="0" y="287"/>
                  <a:pt x="0" y="288"/>
                  <a:pt x="0" y="289"/>
                </a:cubicBezTo>
                <a:cubicBezTo>
                  <a:pt x="0" y="292"/>
                  <a:pt x="0" y="295"/>
                  <a:pt x="0" y="299"/>
                </a:cubicBezTo>
                <a:cubicBezTo>
                  <a:pt x="0" y="302"/>
                  <a:pt x="0" y="306"/>
                  <a:pt x="0" y="308"/>
                </a:cubicBezTo>
                <a:cubicBezTo>
                  <a:pt x="0" y="311"/>
                  <a:pt x="0" y="312"/>
                  <a:pt x="0" y="312"/>
                </a:cubicBezTo>
                <a:cubicBezTo>
                  <a:pt x="0" y="316"/>
                  <a:pt x="2" y="319"/>
                  <a:pt x="5" y="321"/>
                </a:cubicBezTo>
                <a:cubicBezTo>
                  <a:pt x="5" y="321"/>
                  <a:pt x="13" y="324"/>
                  <a:pt x="20" y="328"/>
                </a:cubicBezTo>
                <a:cubicBezTo>
                  <a:pt x="24" y="329"/>
                  <a:pt x="28" y="331"/>
                  <a:pt x="31" y="332"/>
                </a:cubicBezTo>
                <a:cubicBezTo>
                  <a:pt x="34" y="333"/>
                  <a:pt x="36" y="334"/>
                  <a:pt x="36" y="334"/>
                </a:cubicBezTo>
                <a:cubicBezTo>
                  <a:pt x="39" y="335"/>
                  <a:pt x="41" y="337"/>
                  <a:pt x="41" y="341"/>
                </a:cubicBezTo>
                <a:cubicBezTo>
                  <a:pt x="41" y="341"/>
                  <a:pt x="42" y="346"/>
                  <a:pt x="43" y="351"/>
                </a:cubicBezTo>
                <a:cubicBezTo>
                  <a:pt x="44" y="356"/>
                  <a:pt x="45" y="362"/>
                  <a:pt x="45" y="362"/>
                </a:cubicBezTo>
                <a:cubicBezTo>
                  <a:pt x="45" y="362"/>
                  <a:pt x="46" y="363"/>
                  <a:pt x="46" y="365"/>
                </a:cubicBezTo>
                <a:cubicBezTo>
                  <a:pt x="47" y="367"/>
                  <a:pt x="47" y="369"/>
                  <a:pt x="48" y="372"/>
                </a:cubicBezTo>
                <a:cubicBezTo>
                  <a:pt x="49" y="377"/>
                  <a:pt x="51" y="382"/>
                  <a:pt x="51" y="382"/>
                </a:cubicBezTo>
                <a:cubicBezTo>
                  <a:pt x="52" y="385"/>
                  <a:pt x="52" y="389"/>
                  <a:pt x="49" y="391"/>
                </a:cubicBezTo>
                <a:cubicBezTo>
                  <a:pt x="49" y="391"/>
                  <a:pt x="44" y="397"/>
                  <a:pt x="39" y="403"/>
                </a:cubicBezTo>
                <a:cubicBezTo>
                  <a:pt x="36" y="407"/>
                  <a:pt x="34" y="410"/>
                  <a:pt x="32" y="412"/>
                </a:cubicBezTo>
                <a:cubicBezTo>
                  <a:pt x="30" y="415"/>
                  <a:pt x="28" y="417"/>
                  <a:pt x="28" y="417"/>
                </a:cubicBezTo>
                <a:cubicBezTo>
                  <a:pt x="27" y="419"/>
                  <a:pt x="26" y="423"/>
                  <a:pt x="28" y="426"/>
                </a:cubicBezTo>
                <a:cubicBezTo>
                  <a:pt x="28" y="426"/>
                  <a:pt x="29" y="428"/>
                  <a:pt x="30" y="430"/>
                </a:cubicBezTo>
                <a:cubicBezTo>
                  <a:pt x="31" y="432"/>
                  <a:pt x="32" y="435"/>
                  <a:pt x="34" y="438"/>
                </a:cubicBezTo>
                <a:cubicBezTo>
                  <a:pt x="35" y="441"/>
                  <a:pt x="37" y="444"/>
                  <a:pt x="38" y="447"/>
                </a:cubicBezTo>
                <a:cubicBezTo>
                  <a:pt x="40" y="449"/>
                  <a:pt x="40" y="450"/>
                  <a:pt x="40" y="450"/>
                </a:cubicBezTo>
                <a:cubicBezTo>
                  <a:pt x="42" y="454"/>
                  <a:pt x="45" y="456"/>
                  <a:pt x="49" y="455"/>
                </a:cubicBezTo>
                <a:cubicBezTo>
                  <a:pt x="49" y="455"/>
                  <a:pt x="57" y="455"/>
                  <a:pt x="65" y="454"/>
                </a:cubicBezTo>
                <a:cubicBezTo>
                  <a:pt x="69" y="454"/>
                  <a:pt x="74" y="454"/>
                  <a:pt x="77" y="453"/>
                </a:cubicBezTo>
                <a:cubicBezTo>
                  <a:pt x="80" y="453"/>
                  <a:pt x="82" y="453"/>
                  <a:pt x="82" y="453"/>
                </a:cubicBezTo>
                <a:cubicBezTo>
                  <a:pt x="85" y="452"/>
                  <a:pt x="88" y="454"/>
                  <a:pt x="90" y="456"/>
                </a:cubicBezTo>
                <a:cubicBezTo>
                  <a:pt x="90" y="456"/>
                  <a:pt x="91" y="457"/>
                  <a:pt x="92" y="459"/>
                </a:cubicBezTo>
                <a:cubicBezTo>
                  <a:pt x="93" y="461"/>
                  <a:pt x="95" y="463"/>
                  <a:pt x="96" y="465"/>
                </a:cubicBezTo>
                <a:cubicBezTo>
                  <a:pt x="100" y="469"/>
                  <a:pt x="103" y="473"/>
                  <a:pt x="103" y="473"/>
                </a:cubicBezTo>
                <a:cubicBezTo>
                  <a:pt x="103" y="473"/>
                  <a:pt x="104" y="474"/>
                  <a:pt x="106" y="475"/>
                </a:cubicBezTo>
                <a:cubicBezTo>
                  <a:pt x="107" y="477"/>
                  <a:pt x="109" y="479"/>
                  <a:pt x="111" y="481"/>
                </a:cubicBezTo>
                <a:cubicBezTo>
                  <a:pt x="114" y="485"/>
                  <a:pt x="118" y="489"/>
                  <a:pt x="118" y="489"/>
                </a:cubicBezTo>
                <a:cubicBezTo>
                  <a:pt x="121" y="491"/>
                  <a:pt x="122" y="494"/>
                  <a:pt x="121" y="497"/>
                </a:cubicBezTo>
                <a:cubicBezTo>
                  <a:pt x="121" y="497"/>
                  <a:pt x="120" y="499"/>
                  <a:pt x="119" y="502"/>
                </a:cubicBezTo>
                <a:cubicBezTo>
                  <a:pt x="119" y="505"/>
                  <a:pt x="118" y="509"/>
                  <a:pt x="117" y="513"/>
                </a:cubicBezTo>
                <a:cubicBezTo>
                  <a:pt x="115" y="521"/>
                  <a:pt x="114" y="529"/>
                  <a:pt x="114" y="529"/>
                </a:cubicBezTo>
                <a:cubicBezTo>
                  <a:pt x="113" y="533"/>
                  <a:pt x="115" y="536"/>
                  <a:pt x="118" y="538"/>
                </a:cubicBezTo>
                <a:cubicBezTo>
                  <a:pt x="118" y="538"/>
                  <a:pt x="119" y="539"/>
                  <a:pt x="121" y="541"/>
                </a:cubicBezTo>
                <a:cubicBezTo>
                  <a:pt x="123" y="542"/>
                  <a:pt x="126" y="544"/>
                  <a:pt x="129" y="546"/>
                </a:cubicBezTo>
                <a:cubicBezTo>
                  <a:pt x="132" y="548"/>
                  <a:pt x="134" y="550"/>
                  <a:pt x="137" y="552"/>
                </a:cubicBezTo>
                <a:cubicBezTo>
                  <a:pt x="138" y="552"/>
                  <a:pt x="139" y="553"/>
                  <a:pt x="139" y="553"/>
                </a:cubicBezTo>
                <a:cubicBezTo>
                  <a:pt x="140" y="554"/>
                  <a:pt x="140" y="554"/>
                  <a:pt x="140" y="554"/>
                </a:cubicBezTo>
                <a:cubicBezTo>
                  <a:pt x="143" y="556"/>
                  <a:pt x="147" y="556"/>
                  <a:pt x="150" y="554"/>
                </a:cubicBezTo>
                <a:cubicBezTo>
                  <a:pt x="150" y="554"/>
                  <a:pt x="157" y="550"/>
                  <a:pt x="164" y="546"/>
                </a:cubicBezTo>
                <a:cubicBezTo>
                  <a:pt x="171" y="541"/>
                  <a:pt x="178" y="537"/>
                  <a:pt x="178" y="537"/>
                </a:cubicBezTo>
                <a:cubicBezTo>
                  <a:pt x="180" y="535"/>
                  <a:pt x="184" y="535"/>
                  <a:pt x="187" y="536"/>
                </a:cubicBezTo>
                <a:cubicBezTo>
                  <a:pt x="187" y="536"/>
                  <a:pt x="188" y="537"/>
                  <a:pt x="190" y="537"/>
                </a:cubicBezTo>
                <a:cubicBezTo>
                  <a:pt x="192" y="538"/>
                  <a:pt x="194" y="539"/>
                  <a:pt x="196" y="540"/>
                </a:cubicBezTo>
                <a:cubicBezTo>
                  <a:pt x="199" y="542"/>
                  <a:pt x="201" y="543"/>
                  <a:pt x="203" y="543"/>
                </a:cubicBezTo>
                <a:cubicBezTo>
                  <a:pt x="205" y="544"/>
                  <a:pt x="206" y="545"/>
                  <a:pt x="206" y="545"/>
                </a:cubicBezTo>
                <a:cubicBezTo>
                  <a:pt x="206" y="545"/>
                  <a:pt x="211" y="546"/>
                  <a:pt x="217" y="548"/>
                </a:cubicBezTo>
                <a:cubicBezTo>
                  <a:pt x="222" y="550"/>
                  <a:pt x="227" y="551"/>
                  <a:pt x="227" y="551"/>
                </a:cubicBezTo>
                <a:cubicBezTo>
                  <a:pt x="230" y="552"/>
                  <a:pt x="232" y="555"/>
                  <a:pt x="233" y="558"/>
                </a:cubicBezTo>
                <a:cubicBezTo>
                  <a:pt x="233" y="558"/>
                  <a:pt x="234" y="560"/>
                  <a:pt x="234" y="563"/>
                </a:cubicBezTo>
                <a:cubicBezTo>
                  <a:pt x="235" y="566"/>
                  <a:pt x="236" y="570"/>
                  <a:pt x="237" y="574"/>
                </a:cubicBezTo>
                <a:cubicBezTo>
                  <a:pt x="239" y="582"/>
                  <a:pt x="242" y="590"/>
                  <a:pt x="242" y="590"/>
                </a:cubicBezTo>
                <a:cubicBezTo>
                  <a:pt x="243" y="593"/>
                  <a:pt x="246" y="595"/>
                  <a:pt x="250" y="596"/>
                </a:cubicBezTo>
                <a:cubicBezTo>
                  <a:pt x="250" y="596"/>
                  <a:pt x="251" y="596"/>
                  <a:pt x="254" y="596"/>
                </a:cubicBezTo>
                <a:cubicBezTo>
                  <a:pt x="256" y="597"/>
                  <a:pt x="260" y="597"/>
                  <a:pt x="263" y="598"/>
                </a:cubicBezTo>
                <a:cubicBezTo>
                  <a:pt x="266" y="598"/>
                  <a:pt x="270" y="598"/>
                  <a:pt x="272" y="599"/>
                </a:cubicBezTo>
                <a:cubicBezTo>
                  <a:pt x="275" y="599"/>
                  <a:pt x="277" y="599"/>
                  <a:pt x="277" y="599"/>
                </a:cubicBezTo>
                <a:cubicBezTo>
                  <a:pt x="280" y="599"/>
                  <a:pt x="284" y="598"/>
                  <a:pt x="285" y="595"/>
                </a:cubicBezTo>
                <a:close/>
                <a:moveTo>
                  <a:pt x="274" y="511"/>
                </a:moveTo>
                <a:cubicBezTo>
                  <a:pt x="261" y="509"/>
                  <a:pt x="249" y="506"/>
                  <a:pt x="239" y="504"/>
                </a:cubicBezTo>
                <a:cubicBezTo>
                  <a:pt x="235" y="502"/>
                  <a:pt x="231" y="501"/>
                  <a:pt x="228" y="500"/>
                </a:cubicBezTo>
                <a:cubicBezTo>
                  <a:pt x="226" y="499"/>
                  <a:pt x="224" y="498"/>
                  <a:pt x="224" y="498"/>
                </a:cubicBezTo>
                <a:cubicBezTo>
                  <a:pt x="224" y="498"/>
                  <a:pt x="224" y="498"/>
                  <a:pt x="223" y="498"/>
                </a:cubicBezTo>
                <a:cubicBezTo>
                  <a:pt x="222" y="498"/>
                  <a:pt x="221" y="497"/>
                  <a:pt x="220" y="497"/>
                </a:cubicBezTo>
                <a:cubicBezTo>
                  <a:pt x="219" y="496"/>
                  <a:pt x="217" y="496"/>
                  <a:pt x="215" y="495"/>
                </a:cubicBezTo>
                <a:cubicBezTo>
                  <a:pt x="214" y="494"/>
                  <a:pt x="213" y="494"/>
                  <a:pt x="212" y="494"/>
                </a:cubicBezTo>
                <a:cubicBezTo>
                  <a:pt x="211" y="493"/>
                  <a:pt x="210" y="493"/>
                  <a:pt x="209" y="492"/>
                </a:cubicBezTo>
                <a:cubicBezTo>
                  <a:pt x="201" y="488"/>
                  <a:pt x="189" y="482"/>
                  <a:pt x="179" y="474"/>
                </a:cubicBezTo>
                <a:cubicBezTo>
                  <a:pt x="168" y="467"/>
                  <a:pt x="158" y="459"/>
                  <a:pt x="152" y="452"/>
                </a:cubicBezTo>
                <a:cubicBezTo>
                  <a:pt x="148" y="448"/>
                  <a:pt x="145" y="446"/>
                  <a:pt x="143" y="444"/>
                </a:cubicBezTo>
                <a:cubicBezTo>
                  <a:pt x="142" y="442"/>
                  <a:pt x="141" y="440"/>
                  <a:pt x="141" y="440"/>
                </a:cubicBezTo>
                <a:cubicBezTo>
                  <a:pt x="141" y="440"/>
                  <a:pt x="139" y="439"/>
                  <a:pt x="138" y="437"/>
                </a:cubicBezTo>
                <a:cubicBezTo>
                  <a:pt x="136" y="435"/>
                  <a:pt x="133" y="432"/>
                  <a:pt x="130" y="428"/>
                </a:cubicBezTo>
                <a:cubicBezTo>
                  <a:pt x="125" y="420"/>
                  <a:pt x="117" y="409"/>
                  <a:pt x="111" y="398"/>
                </a:cubicBezTo>
                <a:cubicBezTo>
                  <a:pt x="106" y="387"/>
                  <a:pt x="101" y="375"/>
                  <a:pt x="98" y="365"/>
                </a:cubicBezTo>
                <a:cubicBezTo>
                  <a:pt x="97" y="363"/>
                  <a:pt x="96" y="361"/>
                  <a:pt x="96" y="359"/>
                </a:cubicBezTo>
                <a:cubicBezTo>
                  <a:pt x="95" y="357"/>
                  <a:pt x="95" y="356"/>
                  <a:pt x="94" y="354"/>
                </a:cubicBezTo>
                <a:cubicBezTo>
                  <a:pt x="94" y="353"/>
                  <a:pt x="94" y="352"/>
                  <a:pt x="94" y="351"/>
                </a:cubicBezTo>
                <a:cubicBezTo>
                  <a:pt x="93" y="350"/>
                  <a:pt x="93" y="350"/>
                  <a:pt x="93" y="350"/>
                </a:cubicBezTo>
                <a:cubicBezTo>
                  <a:pt x="93" y="350"/>
                  <a:pt x="93" y="348"/>
                  <a:pt x="92" y="346"/>
                </a:cubicBezTo>
                <a:cubicBezTo>
                  <a:pt x="92" y="343"/>
                  <a:pt x="91" y="339"/>
                  <a:pt x="90" y="334"/>
                </a:cubicBezTo>
                <a:cubicBezTo>
                  <a:pt x="89" y="325"/>
                  <a:pt x="87" y="312"/>
                  <a:pt x="87" y="299"/>
                </a:cubicBezTo>
                <a:cubicBezTo>
                  <a:pt x="87" y="286"/>
                  <a:pt x="89" y="273"/>
                  <a:pt x="90" y="264"/>
                </a:cubicBezTo>
                <a:cubicBezTo>
                  <a:pt x="91" y="261"/>
                  <a:pt x="91" y="259"/>
                  <a:pt x="92" y="257"/>
                </a:cubicBezTo>
                <a:cubicBezTo>
                  <a:pt x="92" y="255"/>
                  <a:pt x="92" y="254"/>
                  <a:pt x="93" y="252"/>
                </a:cubicBezTo>
                <a:cubicBezTo>
                  <a:pt x="93" y="251"/>
                  <a:pt x="93" y="250"/>
                  <a:pt x="93" y="249"/>
                </a:cubicBezTo>
                <a:cubicBezTo>
                  <a:pt x="94" y="249"/>
                  <a:pt x="94" y="248"/>
                  <a:pt x="94" y="248"/>
                </a:cubicBezTo>
                <a:cubicBezTo>
                  <a:pt x="94" y="248"/>
                  <a:pt x="94" y="247"/>
                  <a:pt x="95" y="244"/>
                </a:cubicBezTo>
                <a:cubicBezTo>
                  <a:pt x="96" y="241"/>
                  <a:pt x="97" y="237"/>
                  <a:pt x="98" y="233"/>
                </a:cubicBezTo>
                <a:cubicBezTo>
                  <a:pt x="101" y="224"/>
                  <a:pt x="106" y="212"/>
                  <a:pt x="112" y="200"/>
                </a:cubicBezTo>
                <a:cubicBezTo>
                  <a:pt x="118" y="189"/>
                  <a:pt x="125" y="178"/>
                  <a:pt x="131" y="170"/>
                </a:cubicBezTo>
                <a:cubicBezTo>
                  <a:pt x="132" y="169"/>
                  <a:pt x="134" y="167"/>
                  <a:pt x="135" y="165"/>
                </a:cubicBezTo>
                <a:cubicBezTo>
                  <a:pt x="136" y="164"/>
                  <a:pt x="137" y="163"/>
                  <a:pt x="138" y="161"/>
                </a:cubicBezTo>
                <a:cubicBezTo>
                  <a:pt x="139" y="160"/>
                  <a:pt x="140" y="160"/>
                  <a:pt x="141" y="159"/>
                </a:cubicBezTo>
                <a:cubicBezTo>
                  <a:pt x="141" y="158"/>
                  <a:pt x="141" y="158"/>
                  <a:pt x="141" y="158"/>
                </a:cubicBezTo>
                <a:cubicBezTo>
                  <a:pt x="141" y="158"/>
                  <a:pt x="142" y="157"/>
                  <a:pt x="144" y="155"/>
                </a:cubicBezTo>
                <a:cubicBezTo>
                  <a:pt x="146" y="153"/>
                  <a:pt x="149" y="150"/>
                  <a:pt x="152" y="147"/>
                </a:cubicBezTo>
                <a:cubicBezTo>
                  <a:pt x="159" y="140"/>
                  <a:pt x="169" y="132"/>
                  <a:pt x="180" y="124"/>
                </a:cubicBezTo>
                <a:cubicBezTo>
                  <a:pt x="190" y="117"/>
                  <a:pt x="202" y="111"/>
                  <a:pt x="211" y="107"/>
                </a:cubicBezTo>
                <a:cubicBezTo>
                  <a:pt x="215" y="105"/>
                  <a:pt x="219" y="103"/>
                  <a:pt x="221" y="102"/>
                </a:cubicBezTo>
                <a:cubicBezTo>
                  <a:pt x="224" y="101"/>
                  <a:pt x="225" y="100"/>
                  <a:pt x="225" y="100"/>
                </a:cubicBezTo>
                <a:cubicBezTo>
                  <a:pt x="225" y="100"/>
                  <a:pt x="226" y="100"/>
                  <a:pt x="226" y="100"/>
                </a:cubicBezTo>
                <a:cubicBezTo>
                  <a:pt x="227" y="100"/>
                  <a:pt x="228" y="99"/>
                  <a:pt x="229" y="99"/>
                </a:cubicBezTo>
                <a:cubicBezTo>
                  <a:pt x="231" y="99"/>
                  <a:pt x="232" y="98"/>
                  <a:pt x="234" y="97"/>
                </a:cubicBezTo>
                <a:cubicBezTo>
                  <a:pt x="236" y="97"/>
                  <a:pt x="238" y="96"/>
                  <a:pt x="241" y="95"/>
                </a:cubicBezTo>
                <a:cubicBezTo>
                  <a:pt x="250" y="93"/>
                  <a:pt x="262" y="90"/>
                  <a:pt x="275" y="88"/>
                </a:cubicBezTo>
                <a:cubicBezTo>
                  <a:pt x="288" y="87"/>
                  <a:pt x="301" y="87"/>
                  <a:pt x="310" y="87"/>
                </a:cubicBezTo>
                <a:cubicBezTo>
                  <a:pt x="315" y="88"/>
                  <a:pt x="319" y="88"/>
                  <a:pt x="322" y="88"/>
                </a:cubicBezTo>
                <a:cubicBezTo>
                  <a:pt x="325" y="88"/>
                  <a:pt x="326" y="89"/>
                  <a:pt x="326" y="89"/>
                </a:cubicBezTo>
                <a:cubicBezTo>
                  <a:pt x="326" y="89"/>
                  <a:pt x="327" y="89"/>
                  <a:pt x="328" y="89"/>
                </a:cubicBezTo>
                <a:cubicBezTo>
                  <a:pt x="328" y="89"/>
                  <a:pt x="329" y="89"/>
                  <a:pt x="331" y="89"/>
                </a:cubicBezTo>
                <a:cubicBezTo>
                  <a:pt x="332" y="89"/>
                  <a:pt x="334" y="90"/>
                  <a:pt x="336" y="90"/>
                </a:cubicBezTo>
                <a:cubicBezTo>
                  <a:pt x="338" y="90"/>
                  <a:pt x="340" y="91"/>
                  <a:pt x="342" y="91"/>
                </a:cubicBezTo>
                <a:cubicBezTo>
                  <a:pt x="352" y="93"/>
                  <a:pt x="364" y="96"/>
                  <a:pt x="376" y="101"/>
                </a:cubicBezTo>
                <a:cubicBezTo>
                  <a:pt x="388" y="106"/>
                  <a:pt x="400" y="111"/>
                  <a:pt x="408" y="116"/>
                </a:cubicBezTo>
                <a:cubicBezTo>
                  <a:pt x="412" y="119"/>
                  <a:pt x="416" y="121"/>
                  <a:pt x="418" y="122"/>
                </a:cubicBezTo>
                <a:cubicBezTo>
                  <a:pt x="420" y="124"/>
                  <a:pt x="422" y="125"/>
                  <a:pt x="422" y="125"/>
                </a:cubicBezTo>
                <a:cubicBezTo>
                  <a:pt x="422" y="125"/>
                  <a:pt x="422" y="125"/>
                  <a:pt x="423" y="126"/>
                </a:cubicBezTo>
                <a:cubicBezTo>
                  <a:pt x="423" y="126"/>
                  <a:pt x="424" y="127"/>
                  <a:pt x="425" y="127"/>
                </a:cubicBezTo>
                <a:cubicBezTo>
                  <a:pt x="426" y="128"/>
                  <a:pt x="428" y="129"/>
                  <a:pt x="429" y="131"/>
                </a:cubicBezTo>
                <a:cubicBezTo>
                  <a:pt x="431" y="132"/>
                  <a:pt x="433" y="133"/>
                  <a:pt x="434" y="135"/>
                </a:cubicBezTo>
                <a:cubicBezTo>
                  <a:pt x="442" y="141"/>
                  <a:pt x="451" y="149"/>
                  <a:pt x="460" y="159"/>
                </a:cubicBezTo>
                <a:cubicBezTo>
                  <a:pt x="468" y="169"/>
                  <a:pt x="476" y="179"/>
                  <a:pt x="481" y="187"/>
                </a:cubicBezTo>
                <a:cubicBezTo>
                  <a:pt x="483" y="192"/>
                  <a:pt x="485" y="195"/>
                  <a:pt x="487" y="198"/>
                </a:cubicBezTo>
                <a:cubicBezTo>
                  <a:pt x="488" y="200"/>
                  <a:pt x="489" y="201"/>
                  <a:pt x="489" y="201"/>
                </a:cubicBezTo>
                <a:cubicBezTo>
                  <a:pt x="489" y="201"/>
                  <a:pt x="490" y="203"/>
                  <a:pt x="491" y="205"/>
                </a:cubicBezTo>
                <a:cubicBezTo>
                  <a:pt x="492" y="208"/>
                  <a:pt x="494" y="212"/>
                  <a:pt x="496" y="216"/>
                </a:cubicBezTo>
                <a:cubicBezTo>
                  <a:pt x="500" y="225"/>
                  <a:pt x="504" y="237"/>
                  <a:pt x="507" y="249"/>
                </a:cubicBezTo>
                <a:cubicBezTo>
                  <a:pt x="510" y="262"/>
                  <a:pt x="512" y="275"/>
                  <a:pt x="512" y="284"/>
                </a:cubicBezTo>
                <a:cubicBezTo>
                  <a:pt x="512" y="285"/>
                  <a:pt x="513" y="287"/>
                  <a:pt x="513" y="288"/>
                </a:cubicBezTo>
                <a:cubicBezTo>
                  <a:pt x="513" y="289"/>
                  <a:pt x="513" y="290"/>
                  <a:pt x="513" y="291"/>
                </a:cubicBezTo>
                <a:cubicBezTo>
                  <a:pt x="513" y="293"/>
                  <a:pt x="513" y="294"/>
                  <a:pt x="513" y="296"/>
                </a:cubicBezTo>
                <a:cubicBezTo>
                  <a:pt x="513" y="297"/>
                  <a:pt x="513" y="298"/>
                  <a:pt x="513" y="299"/>
                </a:cubicBezTo>
                <a:cubicBezTo>
                  <a:pt x="513" y="300"/>
                  <a:pt x="513" y="300"/>
                  <a:pt x="513" y="300"/>
                </a:cubicBezTo>
                <a:cubicBezTo>
                  <a:pt x="513" y="300"/>
                  <a:pt x="513" y="302"/>
                  <a:pt x="513" y="305"/>
                </a:cubicBezTo>
                <a:cubicBezTo>
                  <a:pt x="513" y="308"/>
                  <a:pt x="513" y="312"/>
                  <a:pt x="512" y="316"/>
                </a:cubicBezTo>
                <a:cubicBezTo>
                  <a:pt x="511" y="326"/>
                  <a:pt x="510" y="339"/>
                  <a:pt x="507" y="351"/>
                </a:cubicBezTo>
                <a:cubicBezTo>
                  <a:pt x="503" y="364"/>
                  <a:pt x="499" y="376"/>
                  <a:pt x="495" y="385"/>
                </a:cubicBezTo>
                <a:cubicBezTo>
                  <a:pt x="493" y="389"/>
                  <a:pt x="491" y="393"/>
                  <a:pt x="490" y="395"/>
                </a:cubicBezTo>
                <a:cubicBezTo>
                  <a:pt x="490" y="397"/>
                  <a:pt x="489" y="397"/>
                  <a:pt x="489" y="398"/>
                </a:cubicBezTo>
                <a:cubicBezTo>
                  <a:pt x="488" y="399"/>
                  <a:pt x="488" y="399"/>
                  <a:pt x="488" y="399"/>
                </a:cubicBezTo>
                <a:cubicBezTo>
                  <a:pt x="488" y="399"/>
                  <a:pt x="487" y="401"/>
                  <a:pt x="486" y="403"/>
                </a:cubicBezTo>
                <a:cubicBezTo>
                  <a:pt x="485" y="406"/>
                  <a:pt x="483" y="409"/>
                  <a:pt x="480" y="413"/>
                </a:cubicBezTo>
                <a:cubicBezTo>
                  <a:pt x="475" y="421"/>
                  <a:pt x="468" y="432"/>
                  <a:pt x="459" y="441"/>
                </a:cubicBezTo>
                <a:cubicBezTo>
                  <a:pt x="457" y="444"/>
                  <a:pt x="455" y="446"/>
                  <a:pt x="452" y="448"/>
                </a:cubicBezTo>
                <a:cubicBezTo>
                  <a:pt x="450" y="450"/>
                  <a:pt x="448" y="453"/>
                  <a:pt x="446" y="455"/>
                </a:cubicBezTo>
                <a:cubicBezTo>
                  <a:pt x="441" y="459"/>
                  <a:pt x="437" y="463"/>
                  <a:pt x="433" y="465"/>
                </a:cubicBezTo>
                <a:cubicBezTo>
                  <a:pt x="430" y="469"/>
                  <a:pt x="426" y="471"/>
                  <a:pt x="424" y="473"/>
                </a:cubicBezTo>
                <a:cubicBezTo>
                  <a:pt x="422" y="474"/>
                  <a:pt x="420" y="475"/>
                  <a:pt x="420" y="475"/>
                </a:cubicBezTo>
                <a:cubicBezTo>
                  <a:pt x="420" y="475"/>
                  <a:pt x="419" y="476"/>
                  <a:pt x="417" y="478"/>
                </a:cubicBezTo>
                <a:cubicBezTo>
                  <a:pt x="414" y="479"/>
                  <a:pt x="411" y="481"/>
                  <a:pt x="407" y="484"/>
                </a:cubicBezTo>
                <a:cubicBezTo>
                  <a:pt x="403" y="486"/>
                  <a:pt x="398" y="489"/>
                  <a:pt x="392" y="491"/>
                </a:cubicBezTo>
                <a:cubicBezTo>
                  <a:pt x="390" y="493"/>
                  <a:pt x="387" y="494"/>
                  <a:pt x="384" y="495"/>
                </a:cubicBezTo>
                <a:cubicBezTo>
                  <a:pt x="381" y="497"/>
                  <a:pt x="378" y="498"/>
                  <a:pt x="375" y="499"/>
                </a:cubicBezTo>
                <a:cubicBezTo>
                  <a:pt x="363" y="503"/>
                  <a:pt x="351" y="507"/>
                  <a:pt x="341" y="509"/>
                </a:cubicBezTo>
                <a:cubicBezTo>
                  <a:pt x="336" y="509"/>
                  <a:pt x="332" y="510"/>
                  <a:pt x="330" y="510"/>
                </a:cubicBezTo>
                <a:cubicBezTo>
                  <a:pt x="327" y="511"/>
                  <a:pt x="325" y="511"/>
                  <a:pt x="325" y="511"/>
                </a:cubicBezTo>
                <a:cubicBezTo>
                  <a:pt x="325" y="511"/>
                  <a:pt x="325" y="511"/>
                  <a:pt x="324" y="511"/>
                </a:cubicBezTo>
                <a:cubicBezTo>
                  <a:pt x="323" y="511"/>
                  <a:pt x="322" y="511"/>
                  <a:pt x="321" y="511"/>
                </a:cubicBezTo>
                <a:cubicBezTo>
                  <a:pt x="318" y="512"/>
                  <a:pt x="314" y="512"/>
                  <a:pt x="309" y="512"/>
                </a:cubicBezTo>
                <a:cubicBezTo>
                  <a:pt x="300" y="513"/>
                  <a:pt x="287" y="512"/>
                  <a:pt x="274" y="511"/>
                </a:cubicBezTo>
                <a:close/>
              </a:path>
            </a:pathLst>
          </a:custGeom>
          <a:solidFill>
            <a:schemeClr val="accent1"/>
          </a:solidFill>
          <a:ln>
            <a:solidFill>
              <a:schemeClr val="accent1">
                <a:lumMod val="75000"/>
              </a:schemeClr>
            </a:solidFill>
          </a:ln>
        </p:spPr>
        <p:txBody>
          <a:bodyPr vert="horz" wrap="square" lIns="91440" tIns="45720" rIns="91440" bIns="45720" numCol="1" anchor="t" anchorCtr="0" compatLnSpc="1">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2" name="îşļïdê"/>
          <p:cNvSpPr/>
          <p:nvPr/>
        </p:nvSpPr>
        <p:spPr>
          <a:xfrm>
            <a:off x="10054398" y="4398034"/>
            <a:ext cx="884243" cy="740843"/>
          </a:xfrm>
          <a:custGeom>
            <a:avLst/>
            <a:gdLst>
              <a:gd name="connsiteX0" fmla="*/ 552739 w 609615"/>
              <a:gd name="connsiteY0" fmla="*/ 397213 h 510753"/>
              <a:gd name="connsiteX1" fmla="*/ 609615 w 609615"/>
              <a:gd name="connsiteY1" fmla="*/ 453983 h 510753"/>
              <a:gd name="connsiteX2" fmla="*/ 552739 w 609615"/>
              <a:gd name="connsiteY2" fmla="*/ 510753 h 510753"/>
              <a:gd name="connsiteX3" fmla="*/ 495863 w 609615"/>
              <a:gd name="connsiteY3" fmla="*/ 453983 h 510753"/>
              <a:gd name="connsiteX4" fmla="*/ 552739 w 609615"/>
              <a:gd name="connsiteY4" fmla="*/ 397213 h 510753"/>
              <a:gd name="connsiteX5" fmla="*/ 547870 w 609615"/>
              <a:gd name="connsiteY5" fmla="*/ 198571 h 510753"/>
              <a:gd name="connsiteX6" fmla="*/ 604746 w 609615"/>
              <a:gd name="connsiteY6" fmla="*/ 255341 h 510753"/>
              <a:gd name="connsiteX7" fmla="*/ 547870 w 609615"/>
              <a:gd name="connsiteY7" fmla="*/ 312111 h 510753"/>
              <a:gd name="connsiteX8" fmla="*/ 490994 w 609615"/>
              <a:gd name="connsiteY8" fmla="*/ 255341 h 510753"/>
              <a:gd name="connsiteX9" fmla="*/ 547870 w 609615"/>
              <a:gd name="connsiteY9" fmla="*/ 198571 h 510753"/>
              <a:gd name="connsiteX10" fmla="*/ 119644 w 609615"/>
              <a:gd name="connsiteY10" fmla="*/ 191797 h 510753"/>
              <a:gd name="connsiteX11" fmla="*/ 127891 w 609615"/>
              <a:gd name="connsiteY11" fmla="*/ 196674 h 510753"/>
              <a:gd name="connsiteX12" fmla="*/ 121502 w 609615"/>
              <a:gd name="connsiteY12" fmla="*/ 203292 h 510753"/>
              <a:gd name="connsiteX13" fmla="*/ 129982 w 609615"/>
              <a:gd name="connsiteY13" fmla="*/ 212233 h 510753"/>
              <a:gd name="connsiteX14" fmla="*/ 122664 w 609615"/>
              <a:gd name="connsiteY14" fmla="*/ 226050 h 510753"/>
              <a:gd name="connsiteX15" fmla="*/ 115462 w 609615"/>
              <a:gd name="connsiteY15" fmla="*/ 225702 h 510753"/>
              <a:gd name="connsiteX16" fmla="*/ 109306 w 609615"/>
              <a:gd name="connsiteY16" fmla="*/ 211652 h 510753"/>
              <a:gd name="connsiteX17" fmla="*/ 117669 w 609615"/>
              <a:gd name="connsiteY17" fmla="*/ 203176 h 510753"/>
              <a:gd name="connsiteX18" fmla="*/ 111513 w 609615"/>
              <a:gd name="connsiteY18" fmla="*/ 196441 h 510753"/>
              <a:gd name="connsiteX19" fmla="*/ 88250 w 609615"/>
              <a:gd name="connsiteY19" fmla="*/ 191374 h 510753"/>
              <a:gd name="connsiteX20" fmla="*/ 111272 w 609615"/>
              <a:gd name="connsiteY20" fmla="*/ 231774 h 510753"/>
              <a:gd name="connsiteX21" fmla="*/ 119760 w 609615"/>
              <a:gd name="connsiteY21" fmla="*/ 238160 h 510753"/>
              <a:gd name="connsiteX22" fmla="*/ 128364 w 609615"/>
              <a:gd name="connsiteY22" fmla="*/ 231891 h 510753"/>
              <a:gd name="connsiteX23" fmla="*/ 152316 w 609615"/>
              <a:gd name="connsiteY23" fmla="*/ 191490 h 510753"/>
              <a:gd name="connsiteX24" fmla="*/ 195918 w 609615"/>
              <a:gd name="connsiteY24" fmla="*/ 193812 h 510753"/>
              <a:gd name="connsiteX25" fmla="*/ 228241 w 609615"/>
              <a:gd name="connsiteY25" fmla="*/ 204725 h 510753"/>
              <a:gd name="connsiteX26" fmla="*/ 239287 w 609615"/>
              <a:gd name="connsiteY26" fmla="*/ 236302 h 510753"/>
              <a:gd name="connsiteX27" fmla="*/ 239287 w 609615"/>
              <a:gd name="connsiteY27" fmla="*/ 249653 h 510753"/>
              <a:gd name="connsiteX28" fmla="*/ 183360 w 609615"/>
              <a:gd name="connsiteY28" fmla="*/ 461987 h 510753"/>
              <a:gd name="connsiteX29" fmla="*/ 132433 w 609615"/>
              <a:gd name="connsiteY29" fmla="*/ 501227 h 510753"/>
              <a:gd name="connsiteX30" fmla="*/ 122085 w 609615"/>
              <a:gd name="connsiteY30" fmla="*/ 501227 h 510753"/>
              <a:gd name="connsiteX31" fmla="*/ 68949 w 609615"/>
              <a:gd name="connsiteY31" fmla="*/ 462568 h 510753"/>
              <a:gd name="connsiteX32" fmla="*/ 0 w 609615"/>
              <a:gd name="connsiteY32" fmla="*/ 249769 h 510753"/>
              <a:gd name="connsiteX33" fmla="*/ 0 w 609615"/>
              <a:gd name="connsiteY33" fmla="*/ 236302 h 510753"/>
              <a:gd name="connsiteX34" fmla="*/ 11046 w 609615"/>
              <a:gd name="connsiteY34" fmla="*/ 204725 h 510753"/>
              <a:gd name="connsiteX35" fmla="*/ 43369 w 609615"/>
              <a:gd name="connsiteY35" fmla="*/ 193812 h 510753"/>
              <a:gd name="connsiteX36" fmla="*/ 138106 w 609615"/>
              <a:gd name="connsiteY36" fmla="*/ 151894 h 510753"/>
              <a:gd name="connsiteX37" fmla="*/ 143448 w 609615"/>
              <a:gd name="connsiteY37" fmla="*/ 154218 h 510753"/>
              <a:gd name="connsiteX38" fmla="*/ 141125 w 609615"/>
              <a:gd name="connsiteY38" fmla="*/ 159679 h 510753"/>
              <a:gd name="connsiteX39" fmla="*/ 118014 w 609615"/>
              <a:gd name="connsiteY39" fmla="*/ 164559 h 510753"/>
              <a:gd name="connsiteX40" fmla="*/ 98271 w 609615"/>
              <a:gd name="connsiteY40" fmla="*/ 158982 h 510753"/>
              <a:gd name="connsiteX41" fmla="*/ 97691 w 609615"/>
              <a:gd name="connsiteY41" fmla="*/ 153172 h 510753"/>
              <a:gd name="connsiteX42" fmla="*/ 103497 w 609615"/>
              <a:gd name="connsiteY42" fmla="*/ 152591 h 510753"/>
              <a:gd name="connsiteX43" fmla="*/ 138106 w 609615"/>
              <a:gd name="connsiteY43" fmla="*/ 151894 h 510753"/>
              <a:gd name="connsiteX44" fmla="*/ 139648 w 609615"/>
              <a:gd name="connsiteY44" fmla="*/ 119739 h 510753"/>
              <a:gd name="connsiteX45" fmla="*/ 149316 w 609615"/>
              <a:gd name="connsiteY45" fmla="*/ 134921 h 510753"/>
              <a:gd name="connsiteX46" fmla="*/ 129981 w 609615"/>
              <a:gd name="connsiteY46" fmla="*/ 134921 h 510753"/>
              <a:gd name="connsiteX47" fmla="*/ 139648 w 609615"/>
              <a:gd name="connsiteY47" fmla="*/ 119739 h 510753"/>
              <a:gd name="connsiteX48" fmla="*/ 91170 w 609615"/>
              <a:gd name="connsiteY48" fmla="*/ 119739 h 510753"/>
              <a:gd name="connsiteX49" fmla="*/ 100838 w 609615"/>
              <a:gd name="connsiteY49" fmla="*/ 134921 h 510753"/>
              <a:gd name="connsiteX50" fmla="*/ 81503 w 609615"/>
              <a:gd name="connsiteY50" fmla="*/ 134921 h 510753"/>
              <a:gd name="connsiteX51" fmla="*/ 91170 w 609615"/>
              <a:gd name="connsiteY51" fmla="*/ 119739 h 510753"/>
              <a:gd name="connsiteX52" fmla="*/ 95591 w 609615"/>
              <a:gd name="connsiteY52" fmla="*/ 95554 h 510753"/>
              <a:gd name="connsiteX53" fmla="*/ 67686 w 609615"/>
              <a:gd name="connsiteY53" fmla="*/ 130042 h 510753"/>
              <a:gd name="connsiteX54" fmla="*/ 67686 w 609615"/>
              <a:gd name="connsiteY54" fmla="*/ 157679 h 510753"/>
              <a:gd name="connsiteX55" fmla="*/ 84313 w 609615"/>
              <a:gd name="connsiteY55" fmla="*/ 174168 h 510753"/>
              <a:gd name="connsiteX56" fmla="*/ 153379 w 609615"/>
              <a:gd name="connsiteY56" fmla="*/ 174168 h 510753"/>
              <a:gd name="connsiteX57" fmla="*/ 169890 w 609615"/>
              <a:gd name="connsiteY57" fmla="*/ 157562 h 510753"/>
              <a:gd name="connsiteX58" fmla="*/ 169890 w 609615"/>
              <a:gd name="connsiteY58" fmla="*/ 112043 h 510753"/>
              <a:gd name="connsiteX59" fmla="*/ 100359 w 609615"/>
              <a:gd name="connsiteY59" fmla="*/ 95554 h 510753"/>
              <a:gd name="connsiteX60" fmla="*/ 305807 w 609615"/>
              <a:gd name="connsiteY60" fmla="*/ 35565 h 510753"/>
              <a:gd name="connsiteX61" fmla="*/ 415442 w 609615"/>
              <a:gd name="connsiteY61" fmla="*/ 35565 h 510753"/>
              <a:gd name="connsiteX62" fmla="*/ 433695 w 609615"/>
              <a:gd name="connsiteY62" fmla="*/ 53792 h 510753"/>
              <a:gd name="connsiteX63" fmla="*/ 415442 w 609615"/>
              <a:gd name="connsiteY63" fmla="*/ 72018 h 510753"/>
              <a:gd name="connsiteX64" fmla="*/ 324060 w 609615"/>
              <a:gd name="connsiteY64" fmla="*/ 72018 h 510753"/>
              <a:gd name="connsiteX65" fmla="*/ 324060 w 609615"/>
              <a:gd name="connsiteY65" fmla="*/ 237103 h 510753"/>
              <a:gd name="connsiteX66" fmla="*/ 415442 w 609615"/>
              <a:gd name="connsiteY66" fmla="*/ 237103 h 510753"/>
              <a:gd name="connsiteX67" fmla="*/ 433695 w 609615"/>
              <a:gd name="connsiteY67" fmla="*/ 255330 h 510753"/>
              <a:gd name="connsiteX68" fmla="*/ 415442 w 609615"/>
              <a:gd name="connsiteY68" fmla="*/ 273556 h 510753"/>
              <a:gd name="connsiteX69" fmla="*/ 324060 w 609615"/>
              <a:gd name="connsiteY69" fmla="*/ 273556 h 510753"/>
              <a:gd name="connsiteX70" fmla="*/ 324060 w 609615"/>
              <a:gd name="connsiteY70" fmla="*/ 469290 h 510753"/>
              <a:gd name="connsiteX71" fmla="*/ 415442 w 609615"/>
              <a:gd name="connsiteY71" fmla="*/ 469290 h 510753"/>
              <a:gd name="connsiteX72" fmla="*/ 433695 w 609615"/>
              <a:gd name="connsiteY72" fmla="*/ 487516 h 510753"/>
              <a:gd name="connsiteX73" fmla="*/ 415442 w 609615"/>
              <a:gd name="connsiteY73" fmla="*/ 505743 h 510753"/>
              <a:gd name="connsiteX74" fmla="*/ 305807 w 609615"/>
              <a:gd name="connsiteY74" fmla="*/ 505743 h 510753"/>
              <a:gd name="connsiteX75" fmla="*/ 287554 w 609615"/>
              <a:gd name="connsiteY75" fmla="*/ 487516 h 510753"/>
              <a:gd name="connsiteX76" fmla="*/ 287554 w 609615"/>
              <a:gd name="connsiteY76" fmla="*/ 53792 h 510753"/>
              <a:gd name="connsiteX77" fmla="*/ 305807 w 609615"/>
              <a:gd name="connsiteY77" fmla="*/ 35565 h 510753"/>
              <a:gd name="connsiteX78" fmla="*/ 117102 w 609615"/>
              <a:gd name="connsiteY78" fmla="*/ 32037 h 510753"/>
              <a:gd name="connsiteX79" fmla="*/ 179890 w 609615"/>
              <a:gd name="connsiteY79" fmla="*/ 108676 h 510753"/>
              <a:gd name="connsiteX80" fmla="*/ 178262 w 609615"/>
              <a:gd name="connsiteY80" fmla="*/ 109373 h 510753"/>
              <a:gd name="connsiteX81" fmla="*/ 178262 w 609615"/>
              <a:gd name="connsiteY81" fmla="*/ 157679 h 510753"/>
              <a:gd name="connsiteX82" fmla="*/ 153379 w 609615"/>
              <a:gd name="connsiteY82" fmla="*/ 182412 h 510753"/>
              <a:gd name="connsiteX83" fmla="*/ 84313 w 609615"/>
              <a:gd name="connsiteY83" fmla="*/ 182412 h 510753"/>
              <a:gd name="connsiteX84" fmla="*/ 59430 w 609615"/>
              <a:gd name="connsiteY84" fmla="*/ 157562 h 510753"/>
              <a:gd name="connsiteX85" fmla="*/ 59430 w 609615"/>
              <a:gd name="connsiteY85" fmla="*/ 133642 h 510753"/>
              <a:gd name="connsiteX86" fmla="*/ 55593 w 609615"/>
              <a:gd name="connsiteY86" fmla="*/ 134803 h 510753"/>
              <a:gd name="connsiteX87" fmla="*/ 117102 w 609615"/>
              <a:gd name="connsiteY87" fmla="*/ 32037 h 510753"/>
              <a:gd name="connsiteX88" fmla="*/ 543107 w 609615"/>
              <a:gd name="connsiteY88" fmla="*/ 0 h 510753"/>
              <a:gd name="connsiteX89" fmla="*/ 599948 w 609615"/>
              <a:gd name="connsiteY89" fmla="*/ 56770 h 510753"/>
              <a:gd name="connsiteX90" fmla="*/ 543107 w 609615"/>
              <a:gd name="connsiteY90" fmla="*/ 113540 h 510753"/>
              <a:gd name="connsiteX91" fmla="*/ 486266 w 609615"/>
              <a:gd name="connsiteY91" fmla="*/ 56770 h 510753"/>
              <a:gd name="connsiteX92" fmla="*/ 543107 w 609615"/>
              <a:gd name="connsiteY92" fmla="*/ 0 h 510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09615" h="510753">
                <a:moveTo>
                  <a:pt x="552739" y="397213"/>
                </a:moveTo>
                <a:cubicBezTo>
                  <a:pt x="584151" y="397213"/>
                  <a:pt x="609615" y="422630"/>
                  <a:pt x="609615" y="453983"/>
                </a:cubicBezTo>
                <a:cubicBezTo>
                  <a:pt x="609615" y="485336"/>
                  <a:pt x="584151" y="510753"/>
                  <a:pt x="552739" y="510753"/>
                </a:cubicBezTo>
                <a:cubicBezTo>
                  <a:pt x="521327" y="510753"/>
                  <a:pt x="495863" y="485336"/>
                  <a:pt x="495863" y="453983"/>
                </a:cubicBezTo>
                <a:cubicBezTo>
                  <a:pt x="495863" y="422630"/>
                  <a:pt x="521327" y="397213"/>
                  <a:pt x="552739" y="397213"/>
                </a:cubicBezTo>
                <a:close/>
                <a:moveTo>
                  <a:pt x="547870" y="198571"/>
                </a:moveTo>
                <a:cubicBezTo>
                  <a:pt x="579282" y="198571"/>
                  <a:pt x="604746" y="223988"/>
                  <a:pt x="604746" y="255341"/>
                </a:cubicBezTo>
                <a:cubicBezTo>
                  <a:pt x="604746" y="286694"/>
                  <a:pt x="579282" y="312111"/>
                  <a:pt x="547870" y="312111"/>
                </a:cubicBezTo>
                <a:cubicBezTo>
                  <a:pt x="516458" y="312111"/>
                  <a:pt x="490994" y="286694"/>
                  <a:pt x="490994" y="255341"/>
                </a:cubicBezTo>
                <a:cubicBezTo>
                  <a:pt x="490994" y="223988"/>
                  <a:pt x="516458" y="198571"/>
                  <a:pt x="547870" y="198571"/>
                </a:cubicBezTo>
                <a:close/>
                <a:moveTo>
                  <a:pt x="119644" y="191797"/>
                </a:moveTo>
                <a:lnTo>
                  <a:pt x="127891" y="196674"/>
                </a:lnTo>
                <a:lnTo>
                  <a:pt x="121502" y="203292"/>
                </a:lnTo>
                <a:lnTo>
                  <a:pt x="129982" y="212233"/>
                </a:lnTo>
                <a:lnTo>
                  <a:pt x="122664" y="226050"/>
                </a:lnTo>
                <a:cubicBezTo>
                  <a:pt x="120573" y="230114"/>
                  <a:pt x="117321" y="229998"/>
                  <a:pt x="115462" y="225702"/>
                </a:cubicBezTo>
                <a:lnTo>
                  <a:pt x="109306" y="211652"/>
                </a:lnTo>
                <a:lnTo>
                  <a:pt x="117669" y="203176"/>
                </a:lnTo>
                <a:lnTo>
                  <a:pt x="111513" y="196441"/>
                </a:lnTo>
                <a:close/>
                <a:moveTo>
                  <a:pt x="88250" y="191374"/>
                </a:moveTo>
                <a:lnTo>
                  <a:pt x="111272" y="231774"/>
                </a:lnTo>
                <a:cubicBezTo>
                  <a:pt x="113597" y="235954"/>
                  <a:pt x="116620" y="238160"/>
                  <a:pt x="119760" y="238160"/>
                </a:cubicBezTo>
                <a:cubicBezTo>
                  <a:pt x="123015" y="238160"/>
                  <a:pt x="126038" y="235954"/>
                  <a:pt x="128364" y="231891"/>
                </a:cubicBezTo>
                <a:lnTo>
                  <a:pt x="152316" y="191490"/>
                </a:lnTo>
                <a:lnTo>
                  <a:pt x="195918" y="193812"/>
                </a:lnTo>
                <a:cubicBezTo>
                  <a:pt x="207894" y="194392"/>
                  <a:pt x="222195" y="199268"/>
                  <a:pt x="228241" y="204725"/>
                </a:cubicBezTo>
                <a:cubicBezTo>
                  <a:pt x="234520" y="210297"/>
                  <a:pt x="239287" y="224112"/>
                  <a:pt x="239287" y="236302"/>
                </a:cubicBezTo>
                <a:lnTo>
                  <a:pt x="239287" y="249653"/>
                </a:lnTo>
                <a:lnTo>
                  <a:pt x="183360" y="461987"/>
                </a:lnTo>
                <a:cubicBezTo>
                  <a:pt x="177663" y="483581"/>
                  <a:pt x="154874" y="501227"/>
                  <a:pt x="132433" y="501227"/>
                </a:cubicBezTo>
                <a:lnTo>
                  <a:pt x="122085" y="501227"/>
                </a:lnTo>
                <a:cubicBezTo>
                  <a:pt x="99645" y="501227"/>
                  <a:pt x="75925" y="483929"/>
                  <a:pt x="68949" y="462568"/>
                </a:cubicBezTo>
                <a:lnTo>
                  <a:pt x="0" y="249769"/>
                </a:lnTo>
                <a:lnTo>
                  <a:pt x="0" y="236302"/>
                </a:lnTo>
                <a:cubicBezTo>
                  <a:pt x="0" y="224112"/>
                  <a:pt x="4883" y="210297"/>
                  <a:pt x="11046" y="204725"/>
                </a:cubicBezTo>
                <a:cubicBezTo>
                  <a:pt x="17208" y="199268"/>
                  <a:pt x="31393" y="194509"/>
                  <a:pt x="43369" y="193812"/>
                </a:cubicBezTo>
                <a:close/>
                <a:moveTo>
                  <a:pt x="138106" y="151894"/>
                </a:moveTo>
                <a:cubicBezTo>
                  <a:pt x="140196" y="151081"/>
                  <a:pt x="142635" y="152127"/>
                  <a:pt x="143448" y="154218"/>
                </a:cubicBezTo>
                <a:cubicBezTo>
                  <a:pt x="144377" y="156426"/>
                  <a:pt x="143332" y="158866"/>
                  <a:pt x="141125" y="159679"/>
                </a:cubicBezTo>
                <a:cubicBezTo>
                  <a:pt x="131950" y="163281"/>
                  <a:pt x="124286" y="164559"/>
                  <a:pt x="118014" y="164559"/>
                </a:cubicBezTo>
                <a:cubicBezTo>
                  <a:pt x="105239" y="164559"/>
                  <a:pt x="98620" y="159330"/>
                  <a:pt x="98271" y="158982"/>
                </a:cubicBezTo>
                <a:cubicBezTo>
                  <a:pt x="96529" y="157588"/>
                  <a:pt x="96181" y="154915"/>
                  <a:pt x="97691" y="153172"/>
                </a:cubicBezTo>
                <a:cubicBezTo>
                  <a:pt x="99084" y="151430"/>
                  <a:pt x="101639" y="151081"/>
                  <a:pt x="103497" y="152591"/>
                </a:cubicBezTo>
                <a:cubicBezTo>
                  <a:pt x="103962" y="152940"/>
                  <a:pt x="114995" y="161073"/>
                  <a:pt x="138106" y="151894"/>
                </a:cubicBezTo>
                <a:close/>
                <a:moveTo>
                  <a:pt x="139648" y="119739"/>
                </a:moveTo>
                <a:cubicBezTo>
                  <a:pt x="147918" y="120435"/>
                  <a:pt x="149316" y="134921"/>
                  <a:pt x="149316" y="134921"/>
                </a:cubicBezTo>
                <a:lnTo>
                  <a:pt x="129981" y="134921"/>
                </a:lnTo>
                <a:cubicBezTo>
                  <a:pt x="129981" y="134921"/>
                  <a:pt x="131379" y="119044"/>
                  <a:pt x="139648" y="119739"/>
                </a:cubicBezTo>
                <a:close/>
                <a:moveTo>
                  <a:pt x="91170" y="119739"/>
                </a:moveTo>
                <a:cubicBezTo>
                  <a:pt x="99440" y="120435"/>
                  <a:pt x="100838" y="134921"/>
                  <a:pt x="100838" y="134921"/>
                </a:cubicBezTo>
                <a:lnTo>
                  <a:pt x="81503" y="134921"/>
                </a:lnTo>
                <a:cubicBezTo>
                  <a:pt x="81503" y="134921"/>
                  <a:pt x="82901" y="119044"/>
                  <a:pt x="91170" y="119739"/>
                </a:cubicBezTo>
                <a:close/>
                <a:moveTo>
                  <a:pt x="95591" y="95554"/>
                </a:moveTo>
                <a:cubicBezTo>
                  <a:pt x="92685" y="103451"/>
                  <a:pt x="84429" y="120752"/>
                  <a:pt x="67686" y="130042"/>
                </a:cubicBezTo>
                <a:lnTo>
                  <a:pt x="67686" y="157679"/>
                </a:lnTo>
                <a:cubicBezTo>
                  <a:pt x="67686" y="166736"/>
                  <a:pt x="75127" y="174168"/>
                  <a:pt x="84313" y="174168"/>
                </a:cubicBezTo>
                <a:lnTo>
                  <a:pt x="153379" y="174168"/>
                </a:lnTo>
                <a:cubicBezTo>
                  <a:pt x="162449" y="174168"/>
                  <a:pt x="169890" y="166736"/>
                  <a:pt x="169890" y="157562"/>
                </a:cubicBezTo>
                <a:lnTo>
                  <a:pt x="169890" y="112043"/>
                </a:lnTo>
                <a:cubicBezTo>
                  <a:pt x="153961" y="116340"/>
                  <a:pt x="122102" y="120752"/>
                  <a:pt x="100359" y="95554"/>
                </a:cubicBezTo>
                <a:close/>
                <a:moveTo>
                  <a:pt x="305807" y="35565"/>
                </a:moveTo>
                <a:lnTo>
                  <a:pt x="415442" y="35565"/>
                </a:lnTo>
                <a:cubicBezTo>
                  <a:pt x="425557" y="35565"/>
                  <a:pt x="433695" y="43692"/>
                  <a:pt x="433695" y="53792"/>
                </a:cubicBezTo>
                <a:cubicBezTo>
                  <a:pt x="433695" y="63892"/>
                  <a:pt x="425557" y="72018"/>
                  <a:pt x="415442" y="72018"/>
                </a:cubicBezTo>
                <a:lnTo>
                  <a:pt x="324060" y="72018"/>
                </a:lnTo>
                <a:lnTo>
                  <a:pt x="324060" y="237103"/>
                </a:lnTo>
                <a:lnTo>
                  <a:pt x="415442" y="237103"/>
                </a:lnTo>
                <a:cubicBezTo>
                  <a:pt x="425557" y="237103"/>
                  <a:pt x="433695" y="245346"/>
                  <a:pt x="433695" y="255330"/>
                </a:cubicBezTo>
                <a:cubicBezTo>
                  <a:pt x="433695" y="265430"/>
                  <a:pt x="425557" y="273556"/>
                  <a:pt x="415442" y="273556"/>
                </a:cubicBezTo>
                <a:lnTo>
                  <a:pt x="324060" y="273556"/>
                </a:lnTo>
                <a:lnTo>
                  <a:pt x="324060" y="469290"/>
                </a:lnTo>
                <a:lnTo>
                  <a:pt x="415442" y="469290"/>
                </a:lnTo>
                <a:cubicBezTo>
                  <a:pt x="425557" y="469290"/>
                  <a:pt x="433695" y="477416"/>
                  <a:pt x="433695" y="487516"/>
                </a:cubicBezTo>
                <a:cubicBezTo>
                  <a:pt x="433695" y="497617"/>
                  <a:pt x="425557" y="505743"/>
                  <a:pt x="415442" y="505743"/>
                </a:cubicBezTo>
                <a:lnTo>
                  <a:pt x="305807" y="505743"/>
                </a:lnTo>
                <a:cubicBezTo>
                  <a:pt x="295692" y="505743"/>
                  <a:pt x="287554" y="497617"/>
                  <a:pt x="287554" y="487516"/>
                </a:cubicBezTo>
                <a:lnTo>
                  <a:pt x="287554" y="53792"/>
                </a:lnTo>
                <a:cubicBezTo>
                  <a:pt x="287554" y="43692"/>
                  <a:pt x="295692" y="35565"/>
                  <a:pt x="305807" y="35565"/>
                </a:cubicBezTo>
                <a:close/>
                <a:moveTo>
                  <a:pt x="117102" y="32037"/>
                </a:moveTo>
                <a:cubicBezTo>
                  <a:pt x="195819" y="32037"/>
                  <a:pt x="179890" y="108676"/>
                  <a:pt x="179890" y="108676"/>
                </a:cubicBezTo>
                <a:cubicBezTo>
                  <a:pt x="179890" y="108676"/>
                  <a:pt x="179308" y="108908"/>
                  <a:pt x="178262" y="109373"/>
                </a:cubicBezTo>
                <a:lnTo>
                  <a:pt x="178262" y="157679"/>
                </a:lnTo>
                <a:cubicBezTo>
                  <a:pt x="178262" y="171381"/>
                  <a:pt x="167099" y="182412"/>
                  <a:pt x="153379" y="182412"/>
                </a:cubicBezTo>
                <a:lnTo>
                  <a:pt x="84313" y="182412"/>
                </a:lnTo>
                <a:cubicBezTo>
                  <a:pt x="70593" y="182412"/>
                  <a:pt x="59430" y="171265"/>
                  <a:pt x="59430" y="157562"/>
                </a:cubicBezTo>
                <a:lnTo>
                  <a:pt x="59430" y="133642"/>
                </a:lnTo>
                <a:cubicBezTo>
                  <a:pt x="58151" y="134106"/>
                  <a:pt x="56872" y="134571"/>
                  <a:pt x="55593" y="134803"/>
                </a:cubicBezTo>
                <a:cubicBezTo>
                  <a:pt x="55593" y="134803"/>
                  <a:pt x="34083" y="32153"/>
                  <a:pt x="117102" y="32037"/>
                </a:cubicBezTo>
                <a:close/>
                <a:moveTo>
                  <a:pt x="543107" y="0"/>
                </a:moveTo>
                <a:cubicBezTo>
                  <a:pt x="574499" y="0"/>
                  <a:pt x="599948" y="25417"/>
                  <a:pt x="599948" y="56770"/>
                </a:cubicBezTo>
                <a:cubicBezTo>
                  <a:pt x="599948" y="88123"/>
                  <a:pt x="574499" y="113540"/>
                  <a:pt x="543107" y="113540"/>
                </a:cubicBezTo>
                <a:cubicBezTo>
                  <a:pt x="511715" y="113540"/>
                  <a:pt x="486266" y="88123"/>
                  <a:pt x="486266" y="56770"/>
                </a:cubicBezTo>
                <a:cubicBezTo>
                  <a:pt x="486266" y="25417"/>
                  <a:pt x="511715" y="0"/>
                  <a:pt x="543107" y="0"/>
                </a:cubicBezTo>
                <a:close/>
              </a:path>
            </a:pathLst>
          </a:custGeom>
          <a:solidFill>
            <a:schemeClr val="accen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sp>
        <p:nvSpPr>
          <p:cNvPr id="63" name="íṡḻíḍê"/>
          <p:cNvSpPr/>
          <p:nvPr/>
        </p:nvSpPr>
        <p:spPr>
          <a:xfrm>
            <a:off x="7635154" y="4055543"/>
            <a:ext cx="683196" cy="733420"/>
          </a:xfrm>
          <a:custGeom>
            <a:avLst/>
            <a:gdLst>
              <a:gd name="connsiteX0" fmla="*/ 266761 w 565186"/>
              <a:gd name="connsiteY0" fmla="*/ 383537 h 606735"/>
              <a:gd name="connsiteX1" fmla="*/ 298145 w 565186"/>
              <a:gd name="connsiteY1" fmla="*/ 383537 h 606735"/>
              <a:gd name="connsiteX2" fmla="*/ 298145 w 565186"/>
              <a:gd name="connsiteY2" fmla="*/ 426731 h 606735"/>
              <a:gd name="connsiteX3" fmla="*/ 485518 w 565186"/>
              <a:gd name="connsiteY3" fmla="*/ 426731 h 606735"/>
              <a:gd name="connsiteX4" fmla="*/ 513188 w 565186"/>
              <a:gd name="connsiteY4" fmla="*/ 454352 h 606735"/>
              <a:gd name="connsiteX5" fmla="*/ 513188 w 565186"/>
              <a:gd name="connsiteY5" fmla="*/ 503015 h 606735"/>
              <a:gd name="connsiteX6" fmla="*/ 537793 w 565186"/>
              <a:gd name="connsiteY6" fmla="*/ 503015 h 606735"/>
              <a:gd name="connsiteX7" fmla="*/ 565184 w 565186"/>
              <a:gd name="connsiteY7" fmla="*/ 530729 h 606735"/>
              <a:gd name="connsiteX8" fmla="*/ 565184 w 565186"/>
              <a:gd name="connsiteY8" fmla="*/ 579021 h 606735"/>
              <a:gd name="connsiteX9" fmla="*/ 537422 w 565186"/>
              <a:gd name="connsiteY9" fmla="*/ 606735 h 606735"/>
              <a:gd name="connsiteX10" fmla="*/ 456920 w 565186"/>
              <a:gd name="connsiteY10" fmla="*/ 606735 h 606735"/>
              <a:gd name="connsiteX11" fmla="*/ 429250 w 565186"/>
              <a:gd name="connsiteY11" fmla="*/ 579021 h 606735"/>
              <a:gd name="connsiteX12" fmla="*/ 429250 w 565186"/>
              <a:gd name="connsiteY12" fmla="*/ 530729 h 606735"/>
              <a:gd name="connsiteX13" fmla="*/ 456920 w 565186"/>
              <a:gd name="connsiteY13" fmla="*/ 503015 h 606735"/>
              <a:gd name="connsiteX14" fmla="*/ 481618 w 565186"/>
              <a:gd name="connsiteY14" fmla="*/ 503015 h 606735"/>
              <a:gd name="connsiteX15" fmla="*/ 481618 w 565186"/>
              <a:gd name="connsiteY15" fmla="*/ 458060 h 606735"/>
              <a:gd name="connsiteX16" fmla="*/ 297959 w 565186"/>
              <a:gd name="connsiteY16" fmla="*/ 458060 h 606735"/>
              <a:gd name="connsiteX17" fmla="*/ 297959 w 565186"/>
              <a:gd name="connsiteY17" fmla="*/ 503015 h 606735"/>
              <a:gd name="connsiteX18" fmla="*/ 322843 w 565186"/>
              <a:gd name="connsiteY18" fmla="*/ 503015 h 606735"/>
              <a:gd name="connsiteX19" fmla="*/ 350606 w 565186"/>
              <a:gd name="connsiteY19" fmla="*/ 530729 h 606735"/>
              <a:gd name="connsiteX20" fmla="*/ 350606 w 565186"/>
              <a:gd name="connsiteY20" fmla="*/ 579021 h 606735"/>
              <a:gd name="connsiteX21" fmla="*/ 322843 w 565186"/>
              <a:gd name="connsiteY21" fmla="*/ 606735 h 606735"/>
              <a:gd name="connsiteX22" fmla="*/ 242434 w 565186"/>
              <a:gd name="connsiteY22" fmla="*/ 606735 h 606735"/>
              <a:gd name="connsiteX23" fmla="*/ 214672 w 565186"/>
              <a:gd name="connsiteY23" fmla="*/ 579021 h 606735"/>
              <a:gd name="connsiteX24" fmla="*/ 214672 w 565186"/>
              <a:gd name="connsiteY24" fmla="*/ 530729 h 606735"/>
              <a:gd name="connsiteX25" fmla="*/ 242434 w 565186"/>
              <a:gd name="connsiteY25" fmla="*/ 503015 h 606735"/>
              <a:gd name="connsiteX26" fmla="*/ 266761 w 565186"/>
              <a:gd name="connsiteY26" fmla="*/ 503015 h 606735"/>
              <a:gd name="connsiteX27" fmla="*/ 266761 w 565186"/>
              <a:gd name="connsiteY27" fmla="*/ 458060 h 606735"/>
              <a:gd name="connsiteX28" fmla="*/ 83659 w 565186"/>
              <a:gd name="connsiteY28" fmla="*/ 458060 h 606735"/>
              <a:gd name="connsiteX29" fmla="*/ 83659 w 565186"/>
              <a:gd name="connsiteY29" fmla="*/ 503015 h 606735"/>
              <a:gd name="connsiteX30" fmla="*/ 108171 w 565186"/>
              <a:gd name="connsiteY30" fmla="*/ 503015 h 606735"/>
              <a:gd name="connsiteX31" fmla="*/ 135934 w 565186"/>
              <a:gd name="connsiteY31" fmla="*/ 530729 h 606735"/>
              <a:gd name="connsiteX32" fmla="*/ 135934 w 565186"/>
              <a:gd name="connsiteY32" fmla="*/ 579021 h 606735"/>
              <a:gd name="connsiteX33" fmla="*/ 108171 w 565186"/>
              <a:gd name="connsiteY33" fmla="*/ 606735 h 606735"/>
              <a:gd name="connsiteX34" fmla="*/ 27762 w 565186"/>
              <a:gd name="connsiteY34" fmla="*/ 606735 h 606735"/>
              <a:gd name="connsiteX35" fmla="*/ 0 w 565186"/>
              <a:gd name="connsiteY35" fmla="*/ 579021 h 606735"/>
              <a:gd name="connsiteX36" fmla="*/ 0 w 565186"/>
              <a:gd name="connsiteY36" fmla="*/ 530729 h 606735"/>
              <a:gd name="connsiteX37" fmla="*/ 27762 w 565186"/>
              <a:gd name="connsiteY37" fmla="*/ 503015 h 606735"/>
              <a:gd name="connsiteX38" fmla="*/ 52368 w 565186"/>
              <a:gd name="connsiteY38" fmla="*/ 503015 h 606735"/>
              <a:gd name="connsiteX39" fmla="*/ 52368 w 565186"/>
              <a:gd name="connsiteY39" fmla="*/ 454352 h 606735"/>
              <a:gd name="connsiteX40" fmla="*/ 79945 w 565186"/>
              <a:gd name="connsiteY40" fmla="*/ 426731 h 606735"/>
              <a:gd name="connsiteX41" fmla="*/ 266761 w 565186"/>
              <a:gd name="connsiteY41" fmla="*/ 426731 h 606735"/>
              <a:gd name="connsiteX42" fmla="*/ 228875 w 565186"/>
              <a:gd name="connsiteY42" fmla="*/ 210792 h 606735"/>
              <a:gd name="connsiteX43" fmla="*/ 257747 w 565186"/>
              <a:gd name="connsiteY43" fmla="*/ 301729 h 606735"/>
              <a:gd name="connsiteX44" fmla="*/ 261739 w 565186"/>
              <a:gd name="connsiteY44" fmla="*/ 314150 h 606735"/>
              <a:gd name="connsiteX45" fmla="*/ 274551 w 565186"/>
              <a:gd name="connsiteY45" fmla="*/ 277535 h 606735"/>
              <a:gd name="connsiteX46" fmla="*/ 282349 w 565186"/>
              <a:gd name="connsiteY46" fmla="*/ 234152 h 606735"/>
              <a:gd name="connsiteX47" fmla="*/ 282535 w 565186"/>
              <a:gd name="connsiteY47" fmla="*/ 234152 h 606735"/>
              <a:gd name="connsiteX48" fmla="*/ 282628 w 565186"/>
              <a:gd name="connsiteY48" fmla="*/ 234152 h 606735"/>
              <a:gd name="connsiteX49" fmla="*/ 282721 w 565186"/>
              <a:gd name="connsiteY49" fmla="*/ 234152 h 606735"/>
              <a:gd name="connsiteX50" fmla="*/ 282906 w 565186"/>
              <a:gd name="connsiteY50" fmla="*/ 234152 h 606735"/>
              <a:gd name="connsiteX51" fmla="*/ 290704 w 565186"/>
              <a:gd name="connsiteY51" fmla="*/ 277535 h 606735"/>
              <a:gd name="connsiteX52" fmla="*/ 303516 w 565186"/>
              <a:gd name="connsiteY52" fmla="*/ 314150 h 606735"/>
              <a:gd name="connsiteX53" fmla="*/ 307508 w 565186"/>
              <a:gd name="connsiteY53" fmla="*/ 301729 h 606735"/>
              <a:gd name="connsiteX54" fmla="*/ 336380 w 565186"/>
              <a:gd name="connsiteY54" fmla="*/ 210792 h 606735"/>
              <a:gd name="connsiteX55" fmla="*/ 396167 w 565186"/>
              <a:gd name="connsiteY55" fmla="*/ 239714 h 606735"/>
              <a:gd name="connsiteX56" fmla="*/ 435344 w 565186"/>
              <a:gd name="connsiteY56" fmla="*/ 334173 h 606735"/>
              <a:gd name="connsiteX57" fmla="*/ 417705 w 565186"/>
              <a:gd name="connsiteY57" fmla="*/ 352064 h 606735"/>
              <a:gd name="connsiteX58" fmla="*/ 282906 w 565186"/>
              <a:gd name="connsiteY58" fmla="*/ 352064 h 606735"/>
              <a:gd name="connsiteX59" fmla="*/ 274922 w 565186"/>
              <a:gd name="connsiteY59" fmla="*/ 352064 h 606735"/>
              <a:gd name="connsiteX60" fmla="*/ 147736 w 565186"/>
              <a:gd name="connsiteY60" fmla="*/ 352064 h 606735"/>
              <a:gd name="connsiteX61" fmla="*/ 130004 w 565186"/>
              <a:gd name="connsiteY61" fmla="*/ 334173 h 606735"/>
              <a:gd name="connsiteX62" fmla="*/ 169088 w 565186"/>
              <a:gd name="connsiteY62" fmla="*/ 239714 h 606735"/>
              <a:gd name="connsiteX63" fmla="*/ 228875 w 565186"/>
              <a:gd name="connsiteY63" fmla="*/ 210792 h 606735"/>
              <a:gd name="connsiteX64" fmla="*/ 277351 w 565186"/>
              <a:gd name="connsiteY64" fmla="*/ 297 h 606735"/>
              <a:gd name="connsiteX65" fmla="*/ 316167 w 565186"/>
              <a:gd name="connsiteY65" fmla="*/ 8453 h 606735"/>
              <a:gd name="connsiteX66" fmla="*/ 335110 w 565186"/>
              <a:gd name="connsiteY66" fmla="*/ 26064 h 606735"/>
              <a:gd name="connsiteX67" fmla="*/ 355911 w 565186"/>
              <a:gd name="connsiteY67" fmla="*/ 91872 h 606735"/>
              <a:gd name="connsiteX68" fmla="*/ 353218 w 565186"/>
              <a:gd name="connsiteY68" fmla="*/ 102067 h 606735"/>
              <a:gd name="connsiteX69" fmla="*/ 359904 w 565186"/>
              <a:gd name="connsiteY69" fmla="*/ 129688 h 606735"/>
              <a:gd name="connsiteX70" fmla="*/ 346532 w 565186"/>
              <a:gd name="connsiteY70" fmla="*/ 153045 h 606735"/>
              <a:gd name="connsiteX71" fmla="*/ 299359 w 565186"/>
              <a:gd name="connsiteY71" fmla="*/ 211160 h 606735"/>
              <a:gd name="connsiteX72" fmla="*/ 264907 w 565186"/>
              <a:gd name="connsiteY72" fmla="*/ 211252 h 606735"/>
              <a:gd name="connsiteX73" fmla="*/ 217920 w 565186"/>
              <a:gd name="connsiteY73" fmla="*/ 153230 h 606735"/>
              <a:gd name="connsiteX74" fmla="*/ 204548 w 565186"/>
              <a:gd name="connsiteY74" fmla="*/ 129873 h 606735"/>
              <a:gd name="connsiteX75" fmla="*/ 211048 w 565186"/>
              <a:gd name="connsiteY75" fmla="*/ 102067 h 606735"/>
              <a:gd name="connsiteX76" fmla="*/ 208355 w 565186"/>
              <a:gd name="connsiteY76" fmla="*/ 91872 h 606735"/>
              <a:gd name="connsiteX77" fmla="*/ 208262 w 565186"/>
              <a:gd name="connsiteY77" fmla="*/ 59524 h 606735"/>
              <a:gd name="connsiteX78" fmla="*/ 227206 w 565186"/>
              <a:gd name="connsiteY78" fmla="*/ 26435 h 606735"/>
              <a:gd name="connsiteX79" fmla="*/ 244757 w 565186"/>
              <a:gd name="connsiteY79" fmla="*/ 11975 h 606735"/>
              <a:gd name="connsiteX80" fmla="*/ 261843 w 565186"/>
              <a:gd name="connsiteY80" fmla="*/ 3263 h 606735"/>
              <a:gd name="connsiteX81" fmla="*/ 277351 w 565186"/>
              <a:gd name="connsiteY81" fmla="*/ 297 h 60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65186" h="606735">
                <a:moveTo>
                  <a:pt x="266761" y="383537"/>
                </a:moveTo>
                <a:lnTo>
                  <a:pt x="298145" y="383537"/>
                </a:lnTo>
                <a:lnTo>
                  <a:pt x="298145" y="426731"/>
                </a:lnTo>
                <a:lnTo>
                  <a:pt x="485518" y="426731"/>
                </a:lnTo>
                <a:cubicBezTo>
                  <a:pt x="500746" y="426731"/>
                  <a:pt x="513188" y="439151"/>
                  <a:pt x="513188" y="454352"/>
                </a:cubicBezTo>
                <a:lnTo>
                  <a:pt x="513188" y="503015"/>
                </a:lnTo>
                <a:lnTo>
                  <a:pt x="537793" y="503015"/>
                </a:lnTo>
                <a:cubicBezTo>
                  <a:pt x="553021" y="503015"/>
                  <a:pt x="565370" y="515528"/>
                  <a:pt x="565184" y="530729"/>
                </a:cubicBezTo>
                <a:lnTo>
                  <a:pt x="565184" y="579021"/>
                </a:lnTo>
                <a:cubicBezTo>
                  <a:pt x="565184" y="594315"/>
                  <a:pt x="552742" y="606735"/>
                  <a:pt x="537422" y="606735"/>
                </a:cubicBezTo>
                <a:lnTo>
                  <a:pt x="456920" y="606735"/>
                </a:lnTo>
                <a:cubicBezTo>
                  <a:pt x="441600" y="606735"/>
                  <a:pt x="429250" y="594315"/>
                  <a:pt x="429250" y="579021"/>
                </a:cubicBezTo>
                <a:lnTo>
                  <a:pt x="429250" y="530729"/>
                </a:lnTo>
                <a:cubicBezTo>
                  <a:pt x="429250" y="515343"/>
                  <a:pt x="441600" y="503015"/>
                  <a:pt x="456920" y="503015"/>
                </a:cubicBezTo>
                <a:lnTo>
                  <a:pt x="481618" y="503015"/>
                </a:lnTo>
                <a:lnTo>
                  <a:pt x="481618" y="458060"/>
                </a:lnTo>
                <a:lnTo>
                  <a:pt x="297959" y="458060"/>
                </a:lnTo>
                <a:lnTo>
                  <a:pt x="297959" y="503015"/>
                </a:lnTo>
                <a:lnTo>
                  <a:pt x="322843" y="503015"/>
                </a:lnTo>
                <a:cubicBezTo>
                  <a:pt x="338256" y="503015"/>
                  <a:pt x="350606" y="515343"/>
                  <a:pt x="350606" y="530729"/>
                </a:cubicBezTo>
                <a:lnTo>
                  <a:pt x="350606" y="579021"/>
                </a:lnTo>
                <a:cubicBezTo>
                  <a:pt x="350606" y="594315"/>
                  <a:pt x="338256" y="606735"/>
                  <a:pt x="322843" y="606735"/>
                </a:cubicBezTo>
                <a:lnTo>
                  <a:pt x="242434" y="606735"/>
                </a:lnTo>
                <a:cubicBezTo>
                  <a:pt x="227021" y="606735"/>
                  <a:pt x="214672" y="594315"/>
                  <a:pt x="214672" y="579021"/>
                </a:cubicBezTo>
                <a:lnTo>
                  <a:pt x="214672" y="530729"/>
                </a:lnTo>
                <a:cubicBezTo>
                  <a:pt x="214672" y="515343"/>
                  <a:pt x="227021" y="503015"/>
                  <a:pt x="242434" y="503015"/>
                </a:cubicBezTo>
                <a:lnTo>
                  <a:pt x="266761" y="503015"/>
                </a:lnTo>
                <a:lnTo>
                  <a:pt x="266761" y="458060"/>
                </a:lnTo>
                <a:lnTo>
                  <a:pt x="83659" y="458060"/>
                </a:lnTo>
                <a:lnTo>
                  <a:pt x="83659" y="503015"/>
                </a:lnTo>
                <a:lnTo>
                  <a:pt x="108171" y="503015"/>
                </a:lnTo>
                <a:cubicBezTo>
                  <a:pt x="123585" y="503015"/>
                  <a:pt x="135934" y="515343"/>
                  <a:pt x="135934" y="530729"/>
                </a:cubicBezTo>
                <a:lnTo>
                  <a:pt x="135934" y="579021"/>
                </a:lnTo>
                <a:cubicBezTo>
                  <a:pt x="135934" y="594315"/>
                  <a:pt x="123585" y="606735"/>
                  <a:pt x="108171" y="606735"/>
                </a:cubicBezTo>
                <a:lnTo>
                  <a:pt x="27762" y="606735"/>
                </a:lnTo>
                <a:cubicBezTo>
                  <a:pt x="12349" y="606735"/>
                  <a:pt x="0" y="594315"/>
                  <a:pt x="0" y="579021"/>
                </a:cubicBezTo>
                <a:lnTo>
                  <a:pt x="0" y="530729"/>
                </a:lnTo>
                <a:cubicBezTo>
                  <a:pt x="0" y="515343"/>
                  <a:pt x="12349" y="503015"/>
                  <a:pt x="27762" y="503015"/>
                </a:cubicBezTo>
                <a:lnTo>
                  <a:pt x="52368" y="503015"/>
                </a:lnTo>
                <a:lnTo>
                  <a:pt x="52368" y="454352"/>
                </a:lnTo>
                <a:cubicBezTo>
                  <a:pt x="52368" y="439151"/>
                  <a:pt x="64717" y="426731"/>
                  <a:pt x="79945" y="426731"/>
                </a:cubicBezTo>
                <a:lnTo>
                  <a:pt x="266761" y="426731"/>
                </a:lnTo>
                <a:close/>
                <a:moveTo>
                  <a:pt x="228875" y="210792"/>
                </a:moveTo>
                <a:lnTo>
                  <a:pt x="257747" y="301729"/>
                </a:lnTo>
                <a:lnTo>
                  <a:pt x="261739" y="314150"/>
                </a:lnTo>
                <a:lnTo>
                  <a:pt x="274551" y="277535"/>
                </a:lnTo>
                <a:cubicBezTo>
                  <a:pt x="245029" y="236098"/>
                  <a:pt x="276779" y="234152"/>
                  <a:pt x="282349" y="234152"/>
                </a:cubicBezTo>
                <a:lnTo>
                  <a:pt x="282535" y="234152"/>
                </a:lnTo>
                <a:lnTo>
                  <a:pt x="282628" y="234152"/>
                </a:lnTo>
                <a:lnTo>
                  <a:pt x="282721" y="234152"/>
                </a:lnTo>
                <a:lnTo>
                  <a:pt x="282906" y="234152"/>
                </a:lnTo>
                <a:cubicBezTo>
                  <a:pt x="288476" y="234245"/>
                  <a:pt x="320412" y="236284"/>
                  <a:pt x="290704" y="277535"/>
                </a:cubicBezTo>
                <a:lnTo>
                  <a:pt x="303516" y="314150"/>
                </a:lnTo>
                <a:lnTo>
                  <a:pt x="307508" y="301729"/>
                </a:lnTo>
                <a:lnTo>
                  <a:pt x="336380" y="210792"/>
                </a:lnTo>
                <a:cubicBezTo>
                  <a:pt x="336380" y="210792"/>
                  <a:pt x="358754" y="225531"/>
                  <a:pt x="396167" y="239714"/>
                </a:cubicBezTo>
                <a:cubicBezTo>
                  <a:pt x="433302" y="253155"/>
                  <a:pt x="434880" y="282077"/>
                  <a:pt x="435344" y="334173"/>
                </a:cubicBezTo>
                <a:cubicBezTo>
                  <a:pt x="435530" y="343999"/>
                  <a:pt x="427546" y="352064"/>
                  <a:pt x="417705" y="352064"/>
                </a:cubicBezTo>
                <a:lnTo>
                  <a:pt x="282906" y="352064"/>
                </a:lnTo>
                <a:lnTo>
                  <a:pt x="274922" y="352064"/>
                </a:lnTo>
                <a:lnTo>
                  <a:pt x="147736" y="352064"/>
                </a:lnTo>
                <a:cubicBezTo>
                  <a:pt x="137895" y="352064"/>
                  <a:pt x="129911" y="343999"/>
                  <a:pt x="130004" y="334173"/>
                </a:cubicBezTo>
                <a:cubicBezTo>
                  <a:pt x="130654" y="282077"/>
                  <a:pt x="132139" y="253155"/>
                  <a:pt x="169088" y="239714"/>
                </a:cubicBezTo>
                <a:cubicBezTo>
                  <a:pt x="206501" y="225345"/>
                  <a:pt x="228875" y="210792"/>
                  <a:pt x="228875" y="210792"/>
                </a:cubicBezTo>
                <a:close/>
                <a:moveTo>
                  <a:pt x="277351" y="297"/>
                </a:moveTo>
                <a:cubicBezTo>
                  <a:pt x="294159" y="-1186"/>
                  <a:pt x="307066" y="3077"/>
                  <a:pt x="316167" y="8453"/>
                </a:cubicBezTo>
                <a:cubicBezTo>
                  <a:pt x="329910" y="16054"/>
                  <a:pt x="335110" y="26064"/>
                  <a:pt x="335110" y="26064"/>
                </a:cubicBezTo>
                <a:cubicBezTo>
                  <a:pt x="335110" y="26064"/>
                  <a:pt x="366590" y="28288"/>
                  <a:pt x="355911" y="91872"/>
                </a:cubicBezTo>
                <a:cubicBezTo>
                  <a:pt x="355354" y="95208"/>
                  <a:pt x="354426" y="98730"/>
                  <a:pt x="353218" y="102067"/>
                </a:cubicBezTo>
                <a:cubicBezTo>
                  <a:pt x="359533" y="101511"/>
                  <a:pt x="366869" y="105126"/>
                  <a:pt x="359904" y="129688"/>
                </a:cubicBezTo>
                <a:cubicBezTo>
                  <a:pt x="354797" y="147762"/>
                  <a:pt x="350154" y="152860"/>
                  <a:pt x="346532" y="153045"/>
                </a:cubicBezTo>
                <a:cubicBezTo>
                  <a:pt x="343189" y="174456"/>
                  <a:pt x="326103" y="201520"/>
                  <a:pt x="299359" y="211160"/>
                </a:cubicBezTo>
                <a:cubicBezTo>
                  <a:pt x="288308" y="215238"/>
                  <a:pt x="276051" y="215238"/>
                  <a:pt x="264907" y="211252"/>
                </a:cubicBezTo>
                <a:cubicBezTo>
                  <a:pt x="237699" y="201798"/>
                  <a:pt x="221263" y="174548"/>
                  <a:pt x="217920" y="153230"/>
                </a:cubicBezTo>
                <a:cubicBezTo>
                  <a:pt x="214298" y="152860"/>
                  <a:pt x="209562" y="147762"/>
                  <a:pt x="204548" y="129873"/>
                </a:cubicBezTo>
                <a:cubicBezTo>
                  <a:pt x="197583" y="105218"/>
                  <a:pt x="204919" y="101696"/>
                  <a:pt x="211048" y="102067"/>
                </a:cubicBezTo>
                <a:cubicBezTo>
                  <a:pt x="209841" y="98545"/>
                  <a:pt x="209005" y="95208"/>
                  <a:pt x="208355" y="91872"/>
                </a:cubicBezTo>
                <a:cubicBezTo>
                  <a:pt x="206126" y="80378"/>
                  <a:pt x="205476" y="69812"/>
                  <a:pt x="208262" y="59524"/>
                </a:cubicBezTo>
                <a:cubicBezTo>
                  <a:pt x="211419" y="45806"/>
                  <a:pt x="218848" y="34962"/>
                  <a:pt x="227206" y="26435"/>
                </a:cubicBezTo>
                <a:cubicBezTo>
                  <a:pt x="232499" y="20873"/>
                  <a:pt x="238442" y="15868"/>
                  <a:pt x="244757" y="11975"/>
                </a:cubicBezTo>
                <a:cubicBezTo>
                  <a:pt x="249957" y="8453"/>
                  <a:pt x="255621" y="5395"/>
                  <a:pt x="261843" y="3263"/>
                </a:cubicBezTo>
                <a:cubicBezTo>
                  <a:pt x="266672" y="1687"/>
                  <a:pt x="271872" y="575"/>
                  <a:pt x="277351" y="297"/>
                </a:cubicBezTo>
                <a:close/>
              </a:path>
            </a:pathLst>
          </a:custGeom>
          <a:solidFill>
            <a:schemeClr val="tx1">
              <a:lumMod val="50000"/>
              <a:lumOff val="50000"/>
            </a:schemeClr>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sp>
        <p:nvSpPr>
          <p:cNvPr id="64" name="íṧḻiḓé"/>
          <p:cNvSpPr/>
          <p:nvPr/>
        </p:nvSpPr>
        <p:spPr>
          <a:xfrm>
            <a:off x="8998155" y="3476847"/>
            <a:ext cx="448782" cy="448097"/>
          </a:xfrm>
          <a:custGeom>
            <a:avLst/>
            <a:gdLst>
              <a:gd name="connsiteX0" fmla="*/ 146058 w 607639"/>
              <a:gd name="connsiteY0" fmla="*/ 370925 h 606713"/>
              <a:gd name="connsiteX1" fmla="*/ 176497 w 607639"/>
              <a:gd name="connsiteY1" fmla="*/ 389678 h 606713"/>
              <a:gd name="connsiteX2" fmla="*/ 157717 w 607639"/>
              <a:gd name="connsiteY2" fmla="*/ 420074 h 606713"/>
              <a:gd name="connsiteX3" fmla="*/ 50644 w 607639"/>
              <a:gd name="connsiteY3" fmla="*/ 480332 h 606713"/>
              <a:gd name="connsiteX4" fmla="*/ 303775 w 607639"/>
              <a:gd name="connsiteY4" fmla="*/ 556143 h 606713"/>
              <a:gd name="connsiteX5" fmla="*/ 556995 w 607639"/>
              <a:gd name="connsiteY5" fmla="*/ 480332 h 606713"/>
              <a:gd name="connsiteX6" fmla="*/ 449833 w 607639"/>
              <a:gd name="connsiteY6" fmla="*/ 420074 h 606713"/>
              <a:gd name="connsiteX7" fmla="*/ 431053 w 607639"/>
              <a:gd name="connsiteY7" fmla="*/ 389678 h 606713"/>
              <a:gd name="connsiteX8" fmla="*/ 461492 w 607639"/>
              <a:gd name="connsiteY8" fmla="*/ 370925 h 606713"/>
              <a:gd name="connsiteX9" fmla="*/ 607639 w 607639"/>
              <a:gd name="connsiteY9" fmla="*/ 480332 h 606713"/>
              <a:gd name="connsiteX10" fmla="*/ 303775 w 607639"/>
              <a:gd name="connsiteY10" fmla="*/ 606713 h 606713"/>
              <a:gd name="connsiteX11" fmla="*/ 0 w 607639"/>
              <a:gd name="connsiteY11" fmla="*/ 480332 h 606713"/>
              <a:gd name="connsiteX12" fmla="*/ 146058 w 607639"/>
              <a:gd name="connsiteY12" fmla="*/ 370925 h 606713"/>
              <a:gd name="connsiteX13" fmla="*/ 303820 w 607639"/>
              <a:gd name="connsiteY13" fmla="*/ 151707 h 606713"/>
              <a:gd name="connsiteX14" fmla="*/ 329118 w 607639"/>
              <a:gd name="connsiteY14" fmla="*/ 176970 h 606713"/>
              <a:gd name="connsiteX15" fmla="*/ 303820 w 607639"/>
              <a:gd name="connsiteY15" fmla="*/ 202233 h 606713"/>
              <a:gd name="connsiteX16" fmla="*/ 278522 w 607639"/>
              <a:gd name="connsiteY16" fmla="*/ 176970 h 606713"/>
              <a:gd name="connsiteX17" fmla="*/ 303820 w 607639"/>
              <a:gd name="connsiteY17" fmla="*/ 151707 h 606713"/>
              <a:gd name="connsiteX18" fmla="*/ 303849 w 607639"/>
              <a:gd name="connsiteY18" fmla="*/ 101116 h 606713"/>
              <a:gd name="connsiteX19" fmla="*/ 227845 w 607639"/>
              <a:gd name="connsiteY19" fmla="*/ 176928 h 606713"/>
              <a:gd name="connsiteX20" fmla="*/ 303849 w 607639"/>
              <a:gd name="connsiteY20" fmla="*/ 252828 h 606713"/>
              <a:gd name="connsiteX21" fmla="*/ 379765 w 607639"/>
              <a:gd name="connsiteY21" fmla="*/ 176928 h 606713"/>
              <a:gd name="connsiteX22" fmla="*/ 303849 w 607639"/>
              <a:gd name="connsiteY22" fmla="*/ 101116 h 606713"/>
              <a:gd name="connsiteX23" fmla="*/ 320773 w 607639"/>
              <a:gd name="connsiteY23" fmla="*/ 813 h 606713"/>
              <a:gd name="connsiteX24" fmla="*/ 421772 w 607639"/>
              <a:gd name="connsiteY24" fmla="*/ 44857 h 606713"/>
              <a:gd name="connsiteX25" fmla="*/ 481045 w 607639"/>
              <a:gd name="connsiteY25" fmla="*/ 176928 h 606713"/>
              <a:gd name="connsiteX26" fmla="*/ 453723 w 607639"/>
              <a:gd name="connsiteY26" fmla="*/ 271226 h 606713"/>
              <a:gd name="connsiteX27" fmla="*/ 439305 w 607639"/>
              <a:gd name="connsiteY27" fmla="*/ 293889 h 606713"/>
              <a:gd name="connsiteX28" fmla="*/ 348260 w 607639"/>
              <a:gd name="connsiteY28" fmla="*/ 448001 h 606713"/>
              <a:gd name="connsiteX29" fmla="*/ 326455 w 607639"/>
              <a:gd name="connsiteY29" fmla="*/ 491639 h 606713"/>
              <a:gd name="connsiteX30" fmla="*/ 303849 w 607639"/>
              <a:gd name="connsiteY30" fmla="*/ 505593 h 606713"/>
              <a:gd name="connsiteX31" fmla="*/ 281155 w 607639"/>
              <a:gd name="connsiteY31" fmla="*/ 491639 h 606713"/>
              <a:gd name="connsiteX32" fmla="*/ 270831 w 607639"/>
              <a:gd name="connsiteY32" fmla="*/ 471020 h 606713"/>
              <a:gd name="connsiteX33" fmla="*/ 161007 w 607639"/>
              <a:gd name="connsiteY33" fmla="*/ 281624 h 606713"/>
              <a:gd name="connsiteX34" fmla="*/ 128345 w 607639"/>
              <a:gd name="connsiteY34" fmla="*/ 151776 h 606713"/>
              <a:gd name="connsiteX35" fmla="*/ 283113 w 607639"/>
              <a:gd name="connsiteY35" fmla="*/ 1219 h 606713"/>
              <a:gd name="connsiteX36" fmla="*/ 320773 w 607639"/>
              <a:gd name="connsiteY36" fmla="*/ 813 h 60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606713">
                <a:moveTo>
                  <a:pt x="146058" y="370925"/>
                </a:moveTo>
                <a:cubicBezTo>
                  <a:pt x="159675" y="367637"/>
                  <a:pt x="173293" y="376080"/>
                  <a:pt x="176497" y="389678"/>
                </a:cubicBezTo>
                <a:cubicBezTo>
                  <a:pt x="179791" y="403276"/>
                  <a:pt x="171335" y="416874"/>
                  <a:pt x="157717" y="420074"/>
                </a:cubicBezTo>
                <a:cubicBezTo>
                  <a:pt x="79215" y="438738"/>
                  <a:pt x="50644" y="466289"/>
                  <a:pt x="50644" y="480332"/>
                </a:cubicBezTo>
                <a:cubicBezTo>
                  <a:pt x="50644" y="510460"/>
                  <a:pt x="151665" y="556143"/>
                  <a:pt x="303775" y="556143"/>
                </a:cubicBezTo>
                <a:cubicBezTo>
                  <a:pt x="455974" y="556143"/>
                  <a:pt x="556995" y="510460"/>
                  <a:pt x="556995" y="480332"/>
                </a:cubicBezTo>
                <a:cubicBezTo>
                  <a:pt x="556995" y="466289"/>
                  <a:pt x="528513" y="438738"/>
                  <a:pt x="449833" y="420074"/>
                </a:cubicBezTo>
                <a:cubicBezTo>
                  <a:pt x="436215" y="416874"/>
                  <a:pt x="427848" y="403276"/>
                  <a:pt x="431053" y="389678"/>
                </a:cubicBezTo>
                <a:cubicBezTo>
                  <a:pt x="434257" y="376080"/>
                  <a:pt x="447964" y="367637"/>
                  <a:pt x="461492" y="370925"/>
                </a:cubicBezTo>
                <a:cubicBezTo>
                  <a:pt x="555749" y="393233"/>
                  <a:pt x="607639" y="432072"/>
                  <a:pt x="607639" y="480332"/>
                </a:cubicBezTo>
                <a:cubicBezTo>
                  <a:pt x="607639" y="563253"/>
                  <a:pt x="454817" y="606713"/>
                  <a:pt x="303775" y="606713"/>
                </a:cubicBezTo>
                <a:cubicBezTo>
                  <a:pt x="152911" y="606713"/>
                  <a:pt x="0" y="563253"/>
                  <a:pt x="0" y="480332"/>
                </a:cubicBezTo>
                <a:cubicBezTo>
                  <a:pt x="0" y="432072"/>
                  <a:pt x="51890" y="393233"/>
                  <a:pt x="146058" y="370925"/>
                </a:cubicBezTo>
                <a:close/>
                <a:moveTo>
                  <a:pt x="303820" y="151707"/>
                </a:moveTo>
                <a:cubicBezTo>
                  <a:pt x="317792" y="151707"/>
                  <a:pt x="329118" y="163018"/>
                  <a:pt x="329118" y="176970"/>
                </a:cubicBezTo>
                <a:cubicBezTo>
                  <a:pt x="329118" y="190922"/>
                  <a:pt x="317792" y="202233"/>
                  <a:pt x="303820" y="202233"/>
                </a:cubicBezTo>
                <a:cubicBezTo>
                  <a:pt x="289848" y="202233"/>
                  <a:pt x="278522" y="190922"/>
                  <a:pt x="278522" y="176970"/>
                </a:cubicBezTo>
                <a:cubicBezTo>
                  <a:pt x="278522" y="163018"/>
                  <a:pt x="289848" y="151707"/>
                  <a:pt x="303820" y="151707"/>
                </a:cubicBezTo>
                <a:close/>
                <a:moveTo>
                  <a:pt x="303849" y="101116"/>
                </a:moveTo>
                <a:cubicBezTo>
                  <a:pt x="261931" y="101116"/>
                  <a:pt x="227845" y="135156"/>
                  <a:pt x="227845" y="176928"/>
                </a:cubicBezTo>
                <a:cubicBezTo>
                  <a:pt x="227845" y="218788"/>
                  <a:pt x="261931" y="252828"/>
                  <a:pt x="303849" y="252828"/>
                </a:cubicBezTo>
                <a:cubicBezTo>
                  <a:pt x="345679" y="252828"/>
                  <a:pt x="379765" y="218788"/>
                  <a:pt x="379765" y="176928"/>
                </a:cubicBezTo>
                <a:cubicBezTo>
                  <a:pt x="379765" y="135156"/>
                  <a:pt x="345679" y="101116"/>
                  <a:pt x="303849" y="101116"/>
                </a:cubicBezTo>
                <a:close/>
                <a:moveTo>
                  <a:pt x="320773" y="813"/>
                </a:moveTo>
                <a:cubicBezTo>
                  <a:pt x="358044" y="4396"/>
                  <a:pt x="393538" y="19728"/>
                  <a:pt x="421772" y="44857"/>
                </a:cubicBezTo>
                <a:cubicBezTo>
                  <a:pt x="459418" y="78452"/>
                  <a:pt x="481045" y="126623"/>
                  <a:pt x="481045" y="176928"/>
                </a:cubicBezTo>
                <a:cubicBezTo>
                  <a:pt x="481045" y="210434"/>
                  <a:pt x="471611" y="242963"/>
                  <a:pt x="453723" y="271226"/>
                </a:cubicBezTo>
                <a:lnTo>
                  <a:pt x="439305" y="293889"/>
                </a:lnTo>
                <a:cubicBezTo>
                  <a:pt x="407621" y="343571"/>
                  <a:pt x="374870" y="394942"/>
                  <a:pt x="348260" y="448001"/>
                </a:cubicBezTo>
                <a:lnTo>
                  <a:pt x="326455" y="491639"/>
                </a:lnTo>
                <a:cubicBezTo>
                  <a:pt x="322183" y="500172"/>
                  <a:pt x="313372" y="505593"/>
                  <a:pt x="303849" y="505593"/>
                </a:cubicBezTo>
                <a:cubicBezTo>
                  <a:pt x="294238" y="505593"/>
                  <a:pt x="285427" y="500172"/>
                  <a:pt x="281155" y="491639"/>
                </a:cubicBezTo>
                <a:lnTo>
                  <a:pt x="270831" y="471020"/>
                </a:lnTo>
                <a:cubicBezTo>
                  <a:pt x="237457" y="404363"/>
                  <a:pt x="203993" y="339749"/>
                  <a:pt x="161007" y="281624"/>
                </a:cubicBezTo>
                <a:cubicBezTo>
                  <a:pt x="133507" y="244296"/>
                  <a:pt x="121937" y="198258"/>
                  <a:pt x="128345" y="151776"/>
                </a:cubicBezTo>
                <a:cubicBezTo>
                  <a:pt x="139292" y="73475"/>
                  <a:pt x="204349" y="10106"/>
                  <a:pt x="283113" y="1219"/>
                </a:cubicBezTo>
                <a:cubicBezTo>
                  <a:pt x="295729" y="-270"/>
                  <a:pt x="308350" y="-381"/>
                  <a:pt x="320773" y="813"/>
                </a:cubicBezTo>
                <a:close/>
              </a:path>
            </a:pathLst>
          </a:custGeom>
          <a:solidFill>
            <a:schemeClr val="accen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cxnSp>
        <p:nvCxnSpPr>
          <p:cNvPr id="68" name="直接连接符 67"/>
          <p:cNvCxnSpPr/>
          <p:nvPr/>
        </p:nvCxnSpPr>
        <p:spPr>
          <a:xfrm flipV="1">
            <a:off x="1765134" y="6258198"/>
            <a:ext cx="4545611" cy="2141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ustDataLst>
      <p:tags r:id="rId2"/>
    </p:custData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nSpc>
                <a:spcPct val="130000"/>
              </a:lnSpc>
            </a:pPr>
            <a:r>
              <a:rPr lang="zh-CN" altLang="en-US" dirty="0">
                <a:sym typeface="+mn-lt"/>
              </a:rPr>
              <a:t>三、（</a:t>
            </a:r>
            <a:r>
              <a:rPr lang="en-US" altLang="zh-CN" dirty="0">
                <a:sym typeface="+mn-lt"/>
              </a:rPr>
              <a:t>2</a:t>
            </a:r>
            <a:r>
              <a:rPr lang="zh-CN" altLang="en-US" dirty="0">
                <a:sym typeface="+mn-lt"/>
              </a:rPr>
              <a:t>）</a:t>
            </a:r>
            <a:r>
              <a:rPr lang="zh-CN" altLang="en-US" dirty="0">
                <a:sym typeface="+mn-lt"/>
              </a:rPr>
              <a:t>产品要素</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fcffe110-81da-45b7-bce6-7a84b93415f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436417" y="1639303"/>
            <a:ext cx="11084070" cy="4056289"/>
            <a:chOff x="436418" y="1507095"/>
            <a:chExt cx="11084070" cy="4056289"/>
          </a:xfrm>
        </p:grpSpPr>
        <p:sp>
          <p:nvSpPr>
            <p:cNvPr id="6" name="îSḻïḓé"/>
            <p:cNvSpPr/>
            <p:nvPr/>
          </p:nvSpPr>
          <p:spPr>
            <a:xfrm>
              <a:off x="5506176" y="2872958"/>
              <a:ext cx="1224136" cy="1224136"/>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7" name="íṩľíḑê"/>
            <p:cNvSpPr txBox="1"/>
            <p:nvPr/>
          </p:nvSpPr>
          <p:spPr>
            <a:xfrm>
              <a:off x="5362160" y="3192639"/>
              <a:ext cx="1512168" cy="584775"/>
            </a:xfrm>
            <a:prstGeom prst="rect">
              <a:avLst/>
            </a:prstGeom>
            <a:noFill/>
          </p:spPr>
          <p:txBody>
            <a:bodyPr wrap="none" lIns="90000" tIns="46800" rIns="90000" bIns="46800" anchor="ctr">
              <a:normAutofit/>
            </a:bodyPr>
            <a:lstStyle/>
            <a:p>
              <a:pPr algn="ctr"/>
              <a:r>
                <a:rPr lang="zh-CN" altLang="en-US" sz="1600" b="1" dirty="0"/>
                <a:t>技改贷</a:t>
              </a:r>
              <a:endParaRPr lang="zh-CN" altLang="en-US" sz="1600" b="1" dirty="0"/>
            </a:p>
          </p:txBody>
        </p:sp>
        <p:sp>
          <p:nvSpPr>
            <p:cNvPr id="8" name="iṧḻiḓe"/>
            <p:cNvSpPr/>
            <p:nvPr/>
          </p:nvSpPr>
          <p:spPr>
            <a:xfrm rot="5400000">
              <a:off x="6324732" y="2396676"/>
              <a:ext cx="1396065" cy="946505"/>
            </a:xfrm>
            <a:custGeom>
              <a:avLst/>
              <a:gdLst>
                <a:gd name="connsiteX0" fmla="*/ 648072 w 1911772"/>
                <a:gd name="connsiteY0" fmla="*/ 0 h 1296144"/>
                <a:gd name="connsiteX1" fmla="*/ 1296144 w 1911772"/>
                <a:gd name="connsiteY1" fmla="*/ 648072 h 1296144"/>
                <a:gd name="connsiteX2" fmla="*/ 1284833 w 1911772"/>
                <a:gd name="connsiteY2" fmla="*/ 760287 h 1296144"/>
                <a:gd name="connsiteX3" fmla="*/ 1319472 w 1911772"/>
                <a:gd name="connsiteY3" fmla="*/ 746539 h 1296144"/>
                <a:gd name="connsiteX4" fmla="*/ 1696179 w 1911772"/>
                <a:gd name="connsiteY4" fmla="*/ 680256 h 1296144"/>
                <a:gd name="connsiteX5" fmla="*/ 1699441 w 1911772"/>
                <a:gd name="connsiteY5" fmla="*/ 652509 h 1296144"/>
                <a:gd name="connsiteX6" fmla="*/ 1911772 w 1911772"/>
                <a:gd name="connsiteY6" fmla="*/ 716676 h 1296144"/>
                <a:gd name="connsiteX7" fmla="*/ 1686302 w 1911772"/>
                <a:gd name="connsiteY7" fmla="*/ 764303 h 1296144"/>
                <a:gd name="connsiteX8" fmla="*/ 1689560 w 1911772"/>
                <a:gd name="connsiteY8" fmla="*/ 736571 h 1296144"/>
                <a:gd name="connsiteX9" fmla="*/ 1332382 w 1911772"/>
                <a:gd name="connsiteY9" fmla="*/ 801206 h 1296144"/>
                <a:gd name="connsiteX10" fmla="*/ 1187203 w 1911772"/>
                <a:gd name="connsiteY10" fmla="*/ 859235 h 1296144"/>
                <a:gd name="connsiteX11" fmla="*/ 1130798 w 1911772"/>
                <a:gd name="connsiteY11" fmla="*/ 887254 h 1296144"/>
                <a:gd name="connsiteX12" fmla="*/ 1048150 w 1911772"/>
                <a:gd name="connsiteY12" fmla="*/ 933976 h 1296144"/>
                <a:gd name="connsiteX13" fmla="*/ 938465 w 1911772"/>
                <a:gd name="connsiteY13" fmla="*/ 1006157 h 1296144"/>
                <a:gd name="connsiteX14" fmla="*/ 688866 w 1911772"/>
                <a:gd name="connsiteY14" fmla="*/ 1244106 h 1296144"/>
                <a:gd name="connsiteX15" fmla="*/ 650107 w 1911772"/>
                <a:gd name="connsiteY15" fmla="*/ 1295939 h 1296144"/>
                <a:gd name="connsiteX16" fmla="*/ 648072 w 1911772"/>
                <a:gd name="connsiteY16" fmla="*/ 1296144 h 1296144"/>
                <a:gd name="connsiteX17" fmla="*/ 0 w 1911772"/>
                <a:gd name="connsiteY17" fmla="*/ 648072 h 1296144"/>
                <a:gd name="connsiteX18" fmla="*/ 648072 w 1911772"/>
                <a:gd name="connsiteY18" fmla="*/ 0 h 129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1772" h="1296144">
                  <a:moveTo>
                    <a:pt x="648072" y="0"/>
                  </a:moveTo>
                  <a:cubicBezTo>
                    <a:pt x="1005992" y="0"/>
                    <a:pt x="1296144" y="290152"/>
                    <a:pt x="1296144" y="648072"/>
                  </a:cubicBezTo>
                  <a:lnTo>
                    <a:pt x="1284833" y="760287"/>
                  </a:lnTo>
                  <a:lnTo>
                    <a:pt x="1319472" y="746539"/>
                  </a:lnTo>
                  <a:cubicBezTo>
                    <a:pt x="1440896" y="707637"/>
                    <a:pt x="1567590" y="685183"/>
                    <a:pt x="1696179" y="680256"/>
                  </a:cubicBezTo>
                  <a:lnTo>
                    <a:pt x="1699441" y="652509"/>
                  </a:lnTo>
                  <a:lnTo>
                    <a:pt x="1911772" y="716676"/>
                  </a:lnTo>
                  <a:lnTo>
                    <a:pt x="1686302" y="764303"/>
                  </a:lnTo>
                  <a:lnTo>
                    <a:pt x="1689560" y="736571"/>
                  </a:lnTo>
                  <a:cubicBezTo>
                    <a:pt x="1567591" y="742035"/>
                    <a:pt x="1447491" y="763917"/>
                    <a:pt x="1332382" y="801206"/>
                  </a:cubicBezTo>
                  <a:lnTo>
                    <a:pt x="1187203" y="859235"/>
                  </a:lnTo>
                  <a:lnTo>
                    <a:pt x="1130798" y="887254"/>
                  </a:lnTo>
                  <a:lnTo>
                    <a:pt x="1048150" y="933976"/>
                  </a:lnTo>
                  <a:lnTo>
                    <a:pt x="938465" y="1006157"/>
                  </a:lnTo>
                  <a:cubicBezTo>
                    <a:pt x="846060" y="1075263"/>
                    <a:pt x="762232" y="1155208"/>
                    <a:pt x="688866" y="1244106"/>
                  </a:cubicBezTo>
                  <a:lnTo>
                    <a:pt x="650107" y="1295939"/>
                  </a:lnTo>
                  <a:lnTo>
                    <a:pt x="648072" y="1296144"/>
                  </a:lnTo>
                  <a:cubicBezTo>
                    <a:pt x="290152" y="1296144"/>
                    <a:pt x="0" y="1005992"/>
                    <a:pt x="0" y="648072"/>
                  </a:cubicBezTo>
                  <a:cubicBezTo>
                    <a:pt x="0" y="290152"/>
                    <a:pt x="290152" y="0"/>
                    <a:pt x="64807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9" name="ïṧ1îḑé"/>
            <p:cNvSpPr/>
            <p:nvPr/>
          </p:nvSpPr>
          <p:spPr bwMode="auto">
            <a:xfrm>
              <a:off x="6831610" y="2459941"/>
              <a:ext cx="383655" cy="369530"/>
            </a:xfrm>
            <a:custGeom>
              <a:avLst/>
              <a:gdLst>
                <a:gd name="connsiteX0" fmla="*/ 297615 w 597921"/>
                <a:gd name="connsiteY0" fmla="*/ 96957 h 598324"/>
                <a:gd name="connsiteX1" fmla="*/ 323434 w 597921"/>
                <a:gd name="connsiteY1" fmla="*/ 122740 h 598324"/>
                <a:gd name="connsiteX2" fmla="*/ 323434 w 597921"/>
                <a:gd name="connsiteY2" fmla="*/ 289852 h 598324"/>
                <a:gd name="connsiteX3" fmla="*/ 462572 w 597921"/>
                <a:gd name="connsiteY3" fmla="*/ 289852 h 598324"/>
                <a:gd name="connsiteX4" fmla="*/ 487913 w 597921"/>
                <a:gd name="connsiteY4" fmla="*/ 315157 h 598324"/>
                <a:gd name="connsiteX5" fmla="*/ 462572 w 597921"/>
                <a:gd name="connsiteY5" fmla="*/ 340463 h 598324"/>
                <a:gd name="connsiteX6" fmla="*/ 297615 w 597921"/>
                <a:gd name="connsiteY6" fmla="*/ 340463 h 598324"/>
                <a:gd name="connsiteX7" fmla="*/ 272274 w 597921"/>
                <a:gd name="connsiteY7" fmla="*/ 315157 h 598324"/>
                <a:gd name="connsiteX8" fmla="*/ 272274 w 597921"/>
                <a:gd name="connsiteY8" fmla="*/ 122740 h 598324"/>
                <a:gd name="connsiteX9" fmla="*/ 297615 w 597921"/>
                <a:gd name="connsiteY9" fmla="*/ 96957 h 598324"/>
                <a:gd name="connsiteX10" fmla="*/ 298127 w 597921"/>
                <a:gd name="connsiteY10" fmla="*/ 0 h 598324"/>
                <a:gd name="connsiteX11" fmla="*/ 597921 w 597921"/>
                <a:gd name="connsiteY11" fmla="*/ 299401 h 598324"/>
                <a:gd name="connsiteX12" fmla="*/ 298127 w 597921"/>
                <a:gd name="connsiteY12" fmla="*/ 598324 h 598324"/>
                <a:gd name="connsiteX13" fmla="*/ 35150 w 597921"/>
                <a:gd name="connsiteY13" fmla="*/ 442177 h 598324"/>
                <a:gd name="connsiteX14" fmla="*/ 34194 w 597921"/>
                <a:gd name="connsiteY14" fmla="*/ 432149 h 598324"/>
                <a:gd name="connsiteX15" fmla="*/ 40410 w 597921"/>
                <a:gd name="connsiteY15" fmla="*/ 424509 h 598324"/>
                <a:gd name="connsiteX16" fmla="*/ 74836 w 597921"/>
                <a:gd name="connsiteY16" fmla="*/ 407796 h 598324"/>
                <a:gd name="connsiteX17" fmla="*/ 91571 w 597921"/>
                <a:gd name="connsiteY17" fmla="*/ 413049 h 598324"/>
                <a:gd name="connsiteX18" fmla="*/ 298127 w 597921"/>
                <a:gd name="connsiteY18" fmla="*/ 534815 h 598324"/>
                <a:gd name="connsiteX19" fmla="*/ 534328 w 597921"/>
                <a:gd name="connsiteY19" fmla="*/ 299401 h 598324"/>
                <a:gd name="connsiteX20" fmla="*/ 298127 w 597921"/>
                <a:gd name="connsiteY20" fmla="*/ 63509 h 598324"/>
                <a:gd name="connsiteX21" fmla="*/ 145123 w 597921"/>
                <a:gd name="connsiteY21" fmla="*/ 120333 h 598324"/>
                <a:gd name="connsiteX22" fmla="*/ 200587 w 597921"/>
                <a:gd name="connsiteY22" fmla="*/ 142299 h 598324"/>
                <a:gd name="connsiteX23" fmla="*/ 208237 w 597921"/>
                <a:gd name="connsiteY23" fmla="*/ 152327 h 598324"/>
                <a:gd name="connsiteX24" fmla="*/ 203456 w 597921"/>
                <a:gd name="connsiteY24" fmla="*/ 164265 h 598324"/>
                <a:gd name="connsiteX25" fmla="*/ 48060 w 597921"/>
                <a:gd name="connsiteY25" fmla="*/ 285553 h 598324"/>
                <a:gd name="connsiteX26" fmla="*/ 35150 w 597921"/>
                <a:gd name="connsiteY26" fmla="*/ 287463 h 598324"/>
                <a:gd name="connsiteX27" fmla="*/ 27500 w 597921"/>
                <a:gd name="connsiteY27" fmla="*/ 277435 h 598324"/>
                <a:gd name="connsiteX28" fmla="*/ 246 w 597921"/>
                <a:gd name="connsiteY28" fmla="*/ 82132 h 598324"/>
                <a:gd name="connsiteX29" fmla="*/ 4550 w 597921"/>
                <a:gd name="connsiteY29" fmla="*/ 70194 h 598324"/>
                <a:gd name="connsiteX30" fmla="*/ 17459 w 597921"/>
                <a:gd name="connsiteY30" fmla="*/ 68762 h 598324"/>
                <a:gd name="connsiteX31" fmla="*/ 80574 w 597921"/>
                <a:gd name="connsiteY31" fmla="*/ 94070 h 598324"/>
                <a:gd name="connsiteX32" fmla="*/ 298127 w 597921"/>
                <a:gd name="connsiteY32" fmla="*/ 0 h 59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97921" h="598324">
                  <a:moveTo>
                    <a:pt x="297615" y="96957"/>
                  </a:moveTo>
                  <a:cubicBezTo>
                    <a:pt x="311959" y="96957"/>
                    <a:pt x="323434" y="108416"/>
                    <a:pt x="323434" y="122740"/>
                  </a:cubicBezTo>
                  <a:lnTo>
                    <a:pt x="323434" y="289852"/>
                  </a:lnTo>
                  <a:lnTo>
                    <a:pt x="462572" y="289852"/>
                  </a:lnTo>
                  <a:cubicBezTo>
                    <a:pt x="476438" y="289852"/>
                    <a:pt x="487913" y="301311"/>
                    <a:pt x="487913" y="315157"/>
                  </a:cubicBezTo>
                  <a:cubicBezTo>
                    <a:pt x="487913" y="329004"/>
                    <a:pt x="476438" y="340463"/>
                    <a:pt x="462572" y="340463"/>
                  </a:cubicBezTo>
                  <a:lnTo>
                    <a:pt x="297615" y="340463"/>
                  </a:lnTo>
                  <a:cubicBezTo>
                    <a:pt x="283749" y="340463"/>
                    <a:pt x="272274" y="329004"/>
                    <a:pt x="272274" y="315157"/>
                  </a:cubicBezTo>
                  <a:lnTo>
                    <a:pt x="272274" y="122740"/>
                  </a:lnTo>
                  <a:cubicBezTo>
                    <a:pt x="272274" y="108416"/>
                    <a:pt x="283749" y="96957"/>
                    <a:pt x="297615" y="96957"/>
                  </a:cubicBezTo>
                  <a:close/>
                  <a:moveTo>
                    <a:pt x="298127" y="0"/>
                  </a:moveTo>
                  <a:cubicBezTo>
                    <a:pt x="463564" y="0"/>
                    <a:pt x="597921" y="134181"/>
                    <a:pt x="597921" y="299401"/>
                  </a:cubicBezTo>
                  <a:cubicBezTo>
                    <a:pt x="597921" y="464143"/>
                    <a:pt x="463564" y="598324"/>
                    <a:pt x="298127" y="598324"/>
                  </a:cubicBezTo>
                  <a:cubicBezTo>
                    <a:pt x="188155" y="598324"/>
                    <a:pt x="87268" y="538635"/>
                    <a:pt x="35150" y="442177"/>
                  </a:cubicBezTo>
                  <a:cubicBezTo>
                    <a:pt x="33238" y="438835"/>
                    <a:pt x="32760" y="435492"/>
                    <a:pt x="34194" y="432149"/>
                  </a:cubicBezTo>
                  <a:cubicBezTo>
                    <a:pt x="35150" y="428807"/>
                    <a:pt x="37541" y="425942"/>
                    <a:pt x="40410" y="424509"/>
                  </a:cubicBezTo>
                  <a:lnTo>
                    <a:pt x="74836" y="407796"/>
                  </a:lnTo>
                  <a:cubicBezTo>
                    <a:pt x="81052" y="404931"/>
                    <a:pt x="88702" y="407319"/>
                    <a:pt x="91571" y="413049"/>
                  </a:cubicBezTo>
                  <a:cubicBezTo>
                    <a:pt x="133169" y="488018"/>
                    <a:pt x="212540" y="534815"/>
                    <a:pt x="298127" y="534815"/>
                  </a:cubicBezTo>
                  <a:cubicBezTo>
                    <a:pt x="428181" y="534815"/>
                    <a:pt x="534328" y="429284"/>
                    <a:pt x="534328" y="299401"/>
                  </a:cubicBezTo>
                  <a:cubicBezTo>
                    <a:pt x="534328" y="169517"/>
                    <a:pt x="428181" y="63509"/>
                    <a:pt x="298127" y="63509"/>
                  </a:cubicBezTo>
                  <a:cubicBezTo>
                    <a:pt x="242185" y="63509"/>
                    <a:pt x="187677" y="83565"/>
                    <a:pt x="145123" y="120333"/>
                  </a:cubicBezTo>
                  <a:lnTo>
                    <a:pt x="200587" y="142299"/>
                  </a:lnTo>
                  <a:cubicBezTo>
                    <a:pt x="204890" y="144209"/>
                    <a:pt x="207759" y="148029"/>
                    <a:pt x="208237" y="152327"/>
                  </a:cubicBezTo>
                  <a:cubicBezTo>
                    <a:pt x="208715" y="157102"/>
                    <a:pt x="207281" y="161399"/>
                    <a:pt x="203456" y="164265"/>
                  </a:cubicBezTo>
                  <a:lnTo>
                    <a:pt x="48060" y="285553"/>
                  </a:lnTo>
                  <a:cubicBezTo>
                    <a:pt x="44235" y="288418"/>
                    <a:pt x="39454" y="289373"/>
                    <a:pt x="35150" y="287463"/>
                  </a:cubicBezTo>
                  <a:cubicBezTo>
                    <a:pt x="31325" y="285553"/>
                    <a:pt x="27978" y="281733"/>
                    <a:pt x="27500" y="277435"/>
                  </a:cubicBezTo>
                  <a:lnTo>
                    <a:pt x="246" y="82132"/>
                  </a:lnTo>
                  <a:cubicBezTo>
                    <a:pt x="-710" y="77835"/>
                    <a:pt x="1203" y="73060"/>
                    <a:pt x="4550" y="70194"/>
                  </a:cubicBezTo>
                  <a:cubicBezTo>
                    <a:pt x="8375" y="67807"/>
                    <a:pt x="13156" y="66852"/>
                    <a:pt x="17459" y="68762"/>
                  </a:cubicBezTo>
                  <a:lnTo>
                    <a:pt x="80574" y="94070"/>
                  </a:lnTo>
                  <a:cubicBezTo>
                    <a:pt x="137472" y="33426"/>
                    <a:pt x="214931" y="0"/>
                    <a:pt x="298127" y="0"/>
                  </a:cubicBezTo>
                  <a:close/>
                </a:path>
              </a:pathLst>
            </a:custGeom>
            <a:solidFill>
              <a:schemeClr val="bg1"/>
            </a:solidFill>
            <a:ln>
              <a:noFill/>
            </a:ln>
          </p:spPr>
          <p:txBody>
            <a:bodyPr anchor="ctr"/>
            <a:lstStyle/>
            <a:p>
              <a:pPr algn="ctr"/>
            </a:p>
          </p:txBody>
        </p:sp>
        <p:sp>
          <p:nvSpPr>
            <p:cNvPr id="10" name="ïṩlïḋè"/>
            <p:cNvSpPr/>
            <p:nvPr/>
          </p:nvSpPr>
          <p:spPr>
            <a:xfrm rot="10800000">
              <a:off x="6054232" y="3899933"/>
              <a:ext cx="1396065" cy="946505"/>
            </a:xfrm>
            <a:custGeom>
              <a:avLst/>
              <a:gdLst>
                <a:gd name="connsiteX0" fmla="*/ 648072 w 1911772"/>
                <a:gd name="connsiteY0" fmla="*/ 0 h 1296144"/>
                <a:gd name="connsiteX1" fmla="*/ 1296144 w 1911772"/>
                <a:gd name="connsiteY1" fmla="*/ 648072 h 1296144"/>
                <a:gd name="connsiteX2" fmla="*/ 1284833 w 1911772"/>
                <a:gd name="connsiteY2" fmla="*/ 760287 h 1296144"/>
                <a:gd name="connsiteX3" fmla="*/ 1319472 w 1911772"/>
                <a:gd name="connsiteY3" fmla="*/ 746539 h 1296144"/>
                <a:gd name="connsiteX4" fmla="*/ 1696179 w 1911772"/>
                <a:gd name="connsiteY4" fmla="*/ 680256 h 1296144"/>
                <a:gd name="connsiteX5" fmla="*/ 1699441 w 1911772"/>
                <a:gd name="connsiteY5" fmla="*/ 652509 h 1296144"/>
                <a:gd name="connsiteX6" fmla="*/ 1911772 w 1911772"/>
                <a:gd name="connsiteY6" fmla="*/ 716676 h 1296144"/>
                <a:gd name="connsiteX7" fmla="*/ 1686302 w 1911772"/>
                <a:gd name="connsiteY7" fmla="*/ 764303 h 1296144"/>
                <a:gd name="connsiteX8" fmla="*/ 1689560 w 1911772"/>
                <a:gd name="connsiteY8" fmla="*/ 736571 h 1296144"/>
                <a:gd name="connsiteX9" fmla="*/ 1332382 w 1911772"/>
                <a:gd name="connsiteY9" fmla="*/ 801206 h 1296144"/>
                <a:gd name="connsiteX10" fmla="*/ 1187203 w 1911772"/>
                <a:gd name="connsiteY10" fmla="*/ 859235 h 1296144"/>
                <a:gd name="connsiteX11" fmla="*/ 1130798 w 1911772"/>
                <a:gd name="connsiteY11" fmla="*/ 887254 h 1296144"/>
                <a:gd name="connsiteX12" fmla="*/ 1048150 w 1911772"/>
                <a:gd name="connsiteY12" fmla="*/ 933976 h 1296144"/>
                <a:gd name="connsiteX13" fmla="*/ 938465 w 1911772"/>
                <a:gd name="connsiteY13" fmla="*/ 1006157 h 1296144"/>
                <a:gd name="connsiteX14" fmla="*/ 688866 w 1911772"/>
                <a:gd name="connsiteY14" fmla="*/ 1244106 h 1296144"/>
                <a:gd name="connsiteX15" fmla="*/ 650107 w 1911772"/>
                <a:gd name="connsiteY15" fmla="*/ 1295939 h 1296144"/>
                <a:gd name="connsiteX16" fmla="*/ 648072 w 1911772"/>
                <a:gd name="connsiteY16" fmla="*/ 1296144 h 1296144"/>
                <a:gd name="connsiteX17" fmla="*/ 0 w 1911772"/>
                <a:gd name="connsiteY17" fmla="*/ 648072 h 1296144"/>
                <a:gd name="connsiteX18" fmla="*/ 648072 w 1911772"/>
                <a:gd name="connsiteY18" fmla="*/ 0 h 129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1772" h="1296144">
                  <a:moveTo>
                    <a:pt x="648072" y="0"/>
                  </a:moveTo>
                  <a:cubicBezTo>
                    <a:pt x="1005992" y="0"/>
                    <a:pt x="1296144" y="290152"/>
                    <a:pt x="1296144" y="648072"/>
                  </a:cubicBezTo>
                  <a:lnTo>
                    <a:pt x="1284833" y="760287"/>
                  </a:lnTo>
                  <a:lnTo>
                    <a:pt x="1319472" y="746539"/>
                  </a:lnTo>
                  <a:cubicBezTo>
                    <a:pt x="1440896" y="707637"/>
                    <a:pt x="1567590" y="685183"/>
                    <a:pt x="1696179" y="680256"/>
                  </a:cubicBezTo>
                  <a:lnTo>
                    <a:pt x="1699441" y="652509"/>
                  </a:lnTo>
                  <a:lnTo>
                    <a:pt x="1911772" y="716676"/>
                  </a:lnTo>
                  <a:lnTo>
                    <a:pt x="1686302" y="764303"/>
                  </a:lnTo>
                  <a:lnTo>
                    <a:pt x="1689560" y="736571"/>
                  </a:lnTo>
                  <a:cubicBezTo>
                    <a:pt x="1567591" y="742035"/>
                    <a:pt x="1447491" y="763917"/>
                    <a:pt x="1332382" y="801206"/>
                  </a:cubicBezTo>
                  <a:lnTo>
                    <a:pt x="1187203" y="859235"/>
                  </a:lnTo>
                  <a:lnTo>
                    <a:pt x="1130798" y="887254"/>
                  </a:lnTo>
                  <a:lnTo>
                    <a:pt x="1048150" y="933976"/>
                  </a:lnTo>
                  <a:lnTo>
                    <a:pt x="938465" y="1006157"/>
                  </a:lnTo>
                  <a:cubicBezTo>
                    <a:pt x="846060" y="1075263"/>
                    <a:pt x="762232" y="1155208"/>
                    <a:pt x="688866" y="1244106"/>
                  </a:cubicBezTo>
                  <a:lnTo>
                    <a:pt x="650107" y="1295939"/>
                  </a:lnTo>
                  <a:lnTo>
                    <a:pt x="648072" y="1296144"/>
                  </a:lnTo>
                  <a:cubicBezTo>
                    <a:pt x="290152" y="1296144"/>
                    <a:pt x="0" y="1005992"/>
                    <a:pt x="0" y="648072"/>
                  </a:cubicBezTo>
                  <a:cubicBezTo>
                    <a:pt x="0" y="290152"/>
                    <a:pt x="290152" y="0"/>
                    <a:pt x="64807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1" name="îṧlïdé"/>
            <p:cNvSpPr/>
            <p:nvPr/>
          </p:nvSpPr>
          <p:spPr bwMode="auto">
            <a:xfrm>
              <a:off x="6784929" y="4188134"/>
              <a:ext cx="383655" cy="369530"/>
            </a:xfrm>
            <a:custGeom>
              <a:avLst/>
              <a:gdLst>
                <a:gd name="connsiteX0" fmla="*/ 304701 w 609473"/>
                <a:gd name="connsiteY0" fmla="*/ 381618 h 587034"/>
                <a:gd name="connsiteX1" fmla="*/ 325879 w 609473"/>
                <a:gd name="connsiteY1" fmla="*/ 394101 h 587034"/>
                <a:gd name="connsiteX2" fmla="*/ 309542 w 609473"/>
                <a:gd name="connsiteY2" fmla="*/ 410914 h 587034"/>
                <a:gd name="connsiteX3" fmla="*/ 331022 w 609473"/>
                <a:gd name="connsiteY3" fmla="*/ 433867 h 587034"/>
                <a:gd name="connsiteX4" fmla="*/ 312466 w 609473"/>
                <a:gd name="connsiteY4" fmla="*/ 468800 h 587034"/>
                <a:gd name="connsiteX5" fmla="*/ 294112 w 609473"/>
                <a:gd name="connsiteY5" fmla="*/ 468096 h 587034"/>
                <a:gd name="connsiteX6" fmla="*/ 278380 w 609473"/>
                <a:gd name="connsiteY6" fmla="*/ 432055 h 587034"/>
                <a:gd name="connsiteX7" fmla="*/ 299861 w 609473"/>
                <a:gd name="connsiteY7" fmla="*/ 410612 h 587034"/>
                <a:gd name="connsiteX8" fmla="*/ 284028 w 609473"/>
                <a:gd name="connsiteY8" fmla="*/ 393397 h 587034"/>
                <a:gd name="connsiteX9" fmla="*/ 224835 w 609473"/>
                <a:gd name="connsiteY9" fmla="*/ 380559 h 587034"/>
                <a:gd name="connsiteX10" fmla="*/ 283211 w 609473"/>
                <a:gd name="connsiteY10" fmla="*/ 483344 h 587034"/>
                <a:gd name="connsiteX11" fmla="*/ 305190 w 609473"/>
                <a:gd name="connsiteY11" fmla="*/ 499753 h 587034"/>
                <a:gd name="connsiteX12" fmla="*/ 327069 w 609473"/>
                <a:gd name="connsiteY12" fmla="*/ 483646 h 587034"/>
                <a:gd name="connsiteX13" fmla="*/ 387865 w 609473"/>
                <a:gd name="connsiteY13" fmla="*/ 380861 h 587034"/>
                <a:gd name="connsiteX14" fmla="*/ 498972 w 609473"/>
                <a:gd name="connsiteY14" fmla="*/ 386700 h 587034"/>
                <a:gd name="connsiteX15" fmla="*/ 581344 w 609473"/>
                <a:gd name="connsiteY15" fmla="*/ 414485 h 587034"/>
                <a:gd name="connsiteX16" fmla="*/ 609473 w 609473"/>
                <a:gd name="connsiteY16" fmla="*/ 494820 h 587034"/>
                <a:gd name="connsiteX17" fmla="*/ 609473 w 609473"/>
                <a:gd name="connsiteY17" fmla="*/ 529048 h 587034"/>
                <a:gd name="connsiteX18" fmla="*/ 551399 w 609473"/>
                <a:gd name="connsiteY18" fmla="*/ 587034 h 587034"/>
                <a:gd name="connsiteX19" fmla="*/ 58074 w 609473"/>
                <a:gd name="connsiteY19" fmla="*/ 587034 h 587034"/>
                <a:gd name="connsiteX20" fmla="*/ 0 w 609473"/>
                <a:gd name="connsiteY20" fmla="*/ 529048 h 587034"/>
                <a:gd name="connsiteX21" fmla="*/ 0 w 609473"/>
                <a:gd name="connsiteY21" fmla="*/ 494820 h 587034"/>
                <a:gd name="connsiteX22" fmla="*/ 28129 w 609473"/>
                <a:gd name="connsiteY22" fmla="*/ 414485 h 587034"/>
                <a:gd name="connsiteX23" fmla="*/ 110501 w 609473"/>
                <a:gd name="connsiteY23" fmla="*/ 386700 h 587034"/>
                <a:gd name="connsiteX24" fmla="*/ 316407 w 609473"/>
                <a:gd name="connsiteY24" fmla="*/ 206077 h 587034"/>
                <a:gd name="connsiteX25" fmla="*/ 316407 w 609473"/>
                <a:gd name="connsiteY25" fmla="*/ 272924 h 587034"/>
                <a:gd name="connsiteX26" fmla="*/ 335965 w 609473"/>
                <a:gd name="connsiteY26" fmla="*/ 266783 h 587034"/>
                <a:gd name="connsiteX27" fmla="*/ 346551 w 609473"/>
                <a:gd name="connsiteY27" fmla="*/ 239602 h 587034"/>
                <a:gd name="connsiteX28" fmla="*/ 336570 w 609473"/>
                <a:gd name="connsiteY28" fmla="*/ 216346 h 587034"/>
                <a:gd name="connsiteX29" fmla="*/ 316407 w 609473"/>
                <a:gd name="connsiteY29" fmla="*/ 206077 h 587034"/>
                <a:gd name="connsiteX30" fmla="*/ 299872 w 609473"/>
                <a:gd name="connsiteY30" fmla="*/ 94230 h 587034"/>
                <a:gd name="connsiteX31" fmla="*/ 277793 w 609473"/>
                <a:gd name="connsiteY31" fmla="*/ 102183 h 587034"/>
                <a:gd name="connsiteX32" fmla="*/ 270534 w 609473"/>
                <a:gd name="connsiteY32" fmla="*/ 122922 h 587034"/>
                <a:gd name="connsiteX33" fmla="*/ 281322 w 609473"/>
                <a:gd name="connsiteY33" fmla="*/ 145674 h 587034"/>
                <a:gd name="connsiteX34" fmla="*/ 299872 w 609473"/>
                <a:gd name="connsiteY34" fmla="*/ 154231 h 587034"/>
                <a:gd name="connsiteX35" fmla="*/ 316407 w 609473"/>
                <a:gd name="connsiteY35" fmla="*/ 42585 h 587034"/>
                <a:gd name="connsiteX36" fmla="*/ 316407 w 609473"/>
                <a:gd name="connsiteY36" fmla="*/ 56478 h 587034"/>
                <a:gd name="connsiteX37" fmla="*/ 360061 w 609473"/>
                <a:gd name="connsiteY37" fmla="*/ 70169 h 587034"/>
                <a:gd name="connsiteX38" fmla="*/ 389904 w 609473"/>
                <a:gd name="connsiteY38" fmla="*/ 129465 h 587034"/>
                <a:gd name="connsiteX39" fmla="*/ 344837 w 609473"/>
                <a:gd name="connsiteY39" fmla="*/ 129465 h 587034"/>
                <a:gd name="connsiteX40" fmla="*/ 339797 w 609473"/>
                <a:gd name="connsiteY40" fmla="*/ 107217 h 587034"/>
                <a:gd name="connsiteX41" fmla="*/ 316407 w 609473"/>
                <a:gd name="connsiteY41" fmla="*/ 93928 h 587034"/>
                <a:gd name="connsiteX42" fmla="*/ 316407 w 609473"/>
                <a:gd name="connsiteY42" fmla="*/ 159063 h 587034"/>
                <a:gd name="connsiteX43" fmla="*/ 371050 w 609473"/>
                <a:gd name="connsiteY43" fmla="*/ 183829 h 587034"/>
                <a:gd name="connsiteX44" fmla="*/ 394037 w 609473"/>
                <a:gd name="connsiteY44" fmla="*/ 234467 h 587034"/>
                <a:gd name="connsiteX45" fmla="*/ 362380 w 609473"/>
                <a:gd name="connsiteY45" fmla="*/ 297086 h 587034"/>
                <a:gd name="connsiteX46" fmla="*/ 316407 w 609473"/>
                <a:gd name="connsiteY46" fmla="*/ 311079 h 587034"/>
                <a:gd name="connsiteX47" fmla="*/ 316407 w 609473"/>
                <a:gd name="connsiteY47" fmla="*/ 318328 h 587034"/>
                <a:gd name="connsiteX48" fmla="*/ 445959 w 609473"/>
                <a:gd name="connsiteY48" fmla="*/ 180507 h 587034"/>
                <a:gd name="connsiteX49" fmla="*/ 316407 w 609473"/>
                <a:gd name="connsiteY49" fmla="*/ 42585 h 587034"/>
                <a:gd name="connsiteX50" fmla="*/ 299872 w 609473"/>
                <a:gd name="connsiteY50" fmla="*/ 42484 h 587034"/>
                <a:gd name="connsiteX51" fmla="*/ 168808 w 609473"/>
                <a:gd name="connsiteY51" fmla="*/ 180507 h 587034"/>
                <a:gd name="connsiteX52" fmla="*/ 299872 w 609473"/>
                <a:gd name="connsiteY52" fmla="*/ 318428 h 587034"/>
                <a:gd name="connsiteX53" fmla="*/ 299872 w 609473"/>
                <a:gd name="connsiteY53" fmla="*/ 311381 h 587034"/>
                <a:gd name="connsiteX54" fmla="*/ 249564 w 609473"/>
                <a:gd name="connsiteY54" fmla="*/ 296683 h 587034"/>
                <a:gd name="connsiteX55" fmla="*/ 220729 w 609473"/>
                <a:gd name="connsiteY55" fmla="*/ 229635 h 587034"/>
                <a:gd name="connsiteX56" fmla="*/ 266904 w 609473"/>
                <a:gd name="connsiteY56" fmla="*/ 229635 h 587034"/>
                <a:gd name="connsiteX57" fmla="*/ 273659 w 609473"/>
                <a:gd name="connsiteY57" fmla="*/ 258528 h 587034"/>
                <a:gd name="connsiteX58" fmla="*/ 299872 w 609473"/>
                <a:gd name="connsiteY58" fmla="*/ 273428 h 587034"/>
                <a:gd name="connsiteX59" fmla="*/ 299872 w 609473"/>
                <a:gd name="connsiteY59" fmla="*/ 200440 h 587034"/>
                <a:gd name="connsiteX60" fmla="*/ 285959 w 609473"/>
                <a:gd name="connsiteY60" fmla="*/ 196312 h 587034"/>
                <a:gd name="connsiteX61" fmla="*/ 239784 w 609473"/>
                <a:gd name="connsiteY61" fmla="*/ 169634 h 587034"/>
                <a:gd name="connsiteX62" fmla="*/ 226375 w 609473"/>
                <a:gd name="connsiteY62" fmla="*/ 128459 h 587034"/>
                <a:gd name="connsiteX63" fmla="*/ 231618 w 609473"/>
                <a:gd name="connsiteY63" fmla="*/ 99566 h 587034"/>
                <a:gd name="connsiteX64" fmla="*/ 246237 w 609473"/>
                <a:gd name="connsiteY64" fmla="*/ 77115 h 587034"/>
                <a:gd name="connsiteX65" fmla="*/ 273256 w 609473"/>
                <a:gd name="connsiteY65" fmla="*/ 60404 h 587034"/>
                <a:gd name="connsiteX66" fmla="*/ 299872 w 609473"/>
                <a:gd name="connsiteY66" fmla="*/ 56075 h 587034"/>
                <a:gd name="connsiteX67" fmla="*/ 307333 w 609473"/>
                <a:gd name="connsiteY67" fmla="*/ 0 h 587034"/>
                <a:gd name="connsiteX68" fmla="*/ 488101 w 609473"/>
                <a:gd name="connsiteY68" fmla="*/ 180507 h 587034"/>
                <a:gd name="connsiteX69" fmla="*/ 307333 w 609473"/>
                <a:gd name="connsiteY69" fmla="*/ 361013 h 587034"/>
                <a:gd name="connsiteX70" fmla="*/ 126665 w 609473"/>
                <a:gd name="connsiteY70" fmla="*/ 180507 h 587034"/>
                <a:gd name="connsiteX71" fmla="*/ 307333 w 609473"/>
                <a:gd name="connsiteY71" fmla="*/ 0 h 587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609473" h="587034">
                  <a:moveTo>
                    <a:pt x="304701" y="381618"/>
                  </a:moveTo>
                  <a:lnTo>
                    <a:pt x="325879" y="394101"/>
                  </a:lnTo>
                  <a:lnTo>
                    <a:pt x="309542" y="410914"/>
                  </a:lnTo>
                  <a:lnTo>
                    <a:pt x="331022" y="433867"/>
                  </a:lnTo>
                  <a:lnTo>
                    <a:pt x="312466" y="468800"/>
                  </a:lnTo>
                  <a:cubicBezTo>
                    <a:pt x="307021" y="479069"/>
                    <a:pt x="298751" y="478767"/>
                    <a:pt x="294112" y="468096"/>
                  </a:cubicBezTo>
                  <a:lnTo>
                    <a:pt x="278380" y="432055"/>
                  </a:lnTo>
                  <a:lnTo>
                    <a:pt x="299861" y="410612"/>
                  </a:lnTo>
                  <a:lnTo>
                    <a:pt x="284028" y="393397"/>
                  </a:lnTo>
                  <a:close/>
                  <a:moveTo>
                    <a:pt x="224835" y="380559"/>
                  </a:moveTo>
                  <a:lnTo>
                    <a:pt x="283211" y="483344"/>
                  </a:lnTo>
                  <a:cubicBezTo>
                    <a:pt x="289260" y="493914"/>
                    <a:pt x="297024" y="499753"/>
                    <a:pt x="305190" y="499753"/>
                  </a:cubicBezTo>
                  <a:cubicBezTo>
                    <a:pt x="313155" y="499753"/>
                    <a:pt x="320919" y="494015"/>
                    <a:pt x="327069" y="483646"/>
                  </a:cubicBezTo>
                  <a:lnTo>
                    <a:pt x="387865" y="380861"/>
                  </a:lnTo>
                  <a:lnTo>
                    <a:pt x="498972" y="386700"/>
                  </a:lnTo>
                  <a:cubicBezTo>
                    <a:pt x="529521" y="388311"/>
                    <a:pt x="565716" y="400492"/>
                    <a:pt x="581344" y="414485"/>
                  </a:cubicBezTo>
                  <a:cubicBezTo>
                    <a:pt x="597072" y="428679"/>
                    <a:pt x="609473" y="464015"/>
                    <a:pt x="609473" y="494820"/>
                  </a:cubicBezTo>
                  <a:lnTo>
                    <a:pt x="609473" y="529048"/>
                  </a:lnTo>
                  <a:cubicBezTo>
                    <a:pt x="609473" y="561061"/>
                    <a:pt x="583360" y="587034"/>
                    <a:pt x="551399" y="587034"/>
                  </a:cubicBezTo>
                  <a:lnTo>
                    <a:pt x="58074" y="587034"/>
                  </a:lnTo>
                  <a:cubicBezTo>
                    <a:pt x="26012" y="587034"/>
                    <a:pt x="0" y="561061"/>
                    <a:pt x="0" y="529048"/>
                  </a:cubicBezTo>
                  <a:lnTo>
                    <a:pt x="0" y="494820"/>
                  </a:lnTo>
                  <a:cubicBezTo>
                    <a:pt x="0" y="464015"/>
                    <a:pt x="12401" y="428679"/>
                    <a:pt x="28129" y="414485"/>
                  </a:cubicBezTo>
                  <a:cubicBezTo>
                    <a:pt x="43757" y="400492"/>
                    <a:pt x="79851" y="388311"/>
                    <a:pt x="110501" y="386700"/>
                  </a:cubicBezTo>
                  <a:close/>
                  <a:moveTo>
                    <a:pt x="316407" y="206077"/>
                  </a:moveTo>
                  <a:lnTo>
                    <a:pt x="316407" y="272924"/>
                  </a:lnTo>
                  <a:cubicBezTo>
                    <a:pt x="325379" y="271817"/>
                    <a:pt x="331832" y="269703"/>
                    <a:pt x="335965" y="266783"/>
                  </a:cubicBezTo>
                  <a:cubicBezTo>
                    <a:pt x="343023" y="261548"/>
                    <a:pt x="346551" y="252488"/>
                    <a:pt x="346551" y="239602"/>
                  </a:cubicBezTo>
                  <a:cubicBezTo>
                    <a:pt x="346551" y="229736"/>
                    <a:pt x="343224" y="222084"/>
                    <a:pt x="336570" y="216346"/>
                  </a:cubicBezTo>
                  <a:cubicBezTo>
                    <a:pt x="332638" y="213024"/>
                    <a:pt x="325884" y="209601"/>
                    <a:pt x="316407" y="206077"/>
                  </a:cubicBezTo>
                  <a:close/>
                  <a:moveTo>
                    <a:pt x="299872" y="94230"/>
                  </a:moveTo>
                  <a:cubicBezTo>
                    <a:pt x="289891" y="94431"/>
                    <a:pt x="282531" y="97149"/>
                    <a:pt x="277793" y="102183"/>
                  </a:cubicBezTo>
                  <a:cubicBezTo>
                    <a:pt x="272954" y="107317"/>
                    <a:pt x="270534" y="114163"/>
                    <a:pt x="270534" y="122922"/>
                  </a:cubicBezTo>
                  <a:cubicBezTo>
                    <a:pt x="270534" y="132586"/>
                    <a:pt x="274163" y="140137"/>
                    <a:pt x="281322" y="145674"/>
                  </a:cubicBezTo>
                  <a:cubicBezTo>
                    <a:pt x="285354" y="148795"/>
                    <a:pt x="291504" y="151613"/>
                    <a:pt x="299872" y="154231"/>
                  </a:cubicBezTo>
                  <a:close/>
                  <a:moveTo>
                    <a:pt x="316407" y="42585"/>
                  </a:moveTo>
                  <a:lnTo>
                    <a:pt x="316407" y="56478"/>
                  </a:lnTo>
                  <a:cubicBezTo>
                    <a:pt x="334957" y="57887"/>
                    <a:pt x="349576" y="62518"/>
                    <a:pt x="360061" y="70169"/>
                  </a:cubicBezTo>
                  <a:cubicBezTo>
                    <a:pt x="379318" y="82350"/>
                    <a:pt x="389198" y="102082"/>
                    <a:pt x="389904" y="129465"/>
                  </a:cubicBezTo>
                  <a:lnTo>
                    <a:pt x="344837" y="129465"/>
                  </a:lnTo>
                  <a:cubicBezTo>
                    <a:pt x="344031" y="119297"/>
                    <a:pt x="342317" y="111948"/>
                    <a:pt x="339797" y="107217"/>
                  </a:cubicBezTo>
                  <a:cubicBezTo>
                    <a:pt x="335562" y="99163"/>
                    <a:pt x="327698" y="94733"/>
                    <a:pt x="316407" y="93928"/>
                  </a:cubicBezTo>
                  <a:lnTo>
                    <a:pt x="316407" y="159063"/>
                  </a:lnTo>
                  <a:cubicBezTo>
                    <a:pt x="343527" y="168426"/>
                    <a:pt x="361674" y="176681"/>
                    <a:pt x="371050" y="183829"/>
                  </a:cubicBezTo>
                  <a:cubicBezTo>
                    <a:pt x="386375" y="195809"/>
                    <a:pt x="394037" y="212722"/>
                    <a:pt x="394037" y="234467"/>
                  </a:cubicBezTo>
                  <a:cubicBezTo>
                    <a:pt x="394037" y="263159"/>
                    <a:pt x="383451" y="284099"/>
                    <a:pt x="362380" y="297086"/>
                  </a:cubicBezTo>
                  <a:cubicBezTo>
                    <a:pt x="349475" y="305039"/>
                    <a:pt x="334151" y="309670"/>
                    <a:pt x="316407" y="311079"/>
                  </a:cubicBezTo>
                  <a:lnTo>
                    <a:pt x="316407" y="318328"/>
                  </a:lnTo>
                  <a:cubicBezTo>
                    <a:pt x="388593" y="313697"/>
                    <a:pt x="445959" y="253696"/>
                    <a:pt x="445959" y="180507"/>
                  </a:cubicBezTo>
                  <a:cubicBezTo>
                    <a:pt x="445959" y="107217"/>
                    <a:pt x="388593" y="47316"/>
                    <a:pt x="316407" y="42585"/>
                  </a:cubicBezTo>
                  <a:close/>
                  <a:moveTo>
                    <a:pt x="299872" y="42484"/>
                  </a:moveTo>
                  <a:cubicBezTo>
                    <a:pt x="226980" y="46410"/>
                    <a:pt x="168808" y="106713"/>
                    <a:pt x="168808" y="180507"/>
                  </a:cubicBezTo>
                  <a:cubicBezTo>
                    <a:pt x="168808" y="254199"/>
                    <a:pt x="226980" y="314502"/>
                    <a:pt x="299872" y="318428"/>
                  </a:cubicBezTo>
                  <a:lnTo>
                    <a:pt x="299872" y="311381"/>
                  </a:lnTo>
                  <a:cubicBezTo>
                    <a:pt x="277390" y="308864"/>
                    <a:pt x="260553" y="303931"/>
                    <a:pt x="249564" y="296683"/>
                  </a:cubicBezTo>
                  <a:cubicBezTo>
                    <a:pt x="230005" y="283596"/>
                    <a:pt x="220427" y="261246"/>
                    <a:pt x="220729" y="229635"/>
                  </a:cubicBezTo>
                  <a:lnTo>
                    <a:pt x="266904" y="229635"/>
                  </a:lnTo>
                  <a:cubicBezTo>
                    <a:pt x="268518" y="244031"/>
                    <a:pt x="270736" y="253696"/>
                    <a:pt x="273659" y="258528"/>
                  </a:cubicBezTo>
                  <a:cubicBezTo>
                    <a:pt x="278095" y="266179"/>
                    <a:pt x="286867" y="271112"/>
                    <a:pt x="299872" y="273428"/>
                  </a:cubicBezTo>
                  <a:lnTo>
                    <a:pt x="299872" y="200440"/>
                  </a:lnTo>
                  <a:lnTo>
                    <a:pt x="285959" y="196312"/>
                  </a:lnTo>
                  <a:cubicBezTo>
                    <a:pt x="264182" y="189970"/>
                    <a:pt x="248757" y="181010"/>
                    <a:pt x="239784" y="169634"/>
                  </a:cubicBezTo>
                  <a:cubicBezTo>
                    <a:pt x="230811" y="158258"/>
                    <a:pt x="226375" y="144466"/>
                    <a:pt x="226375" y="128459"/>
                  </a:cubicBezTo>
                  <a:cubicBezTo>
                    <a:pt x="226375" y="117787"/>
                    <a:pt x="228089" y="108223"/>
                    <a:pt x="231618" y="99566"/>
                  </a:cubicBezTo>
                  <a:cubicBezTo>
                    <a:pt x="235046" y="90908"/>
                    <a:pt x="239986" y="83357"/>
                    <a:pt x="246237" y="77115"/>
                  </a:cubicBezTo>
                  <a:cubicBezTo>
                    <a:pt x="254302" y="69062"/>
                    <a:pt x="263376" y="63424"/>
                    <a:pt x="273256" y="60404"/>
                  </a:cubicBezTo>
                  <a:cubicBezTo>
                    <a:pt x="279406" y="58390"/>
                    <a:pt x="288177" y="56981"/>
                    <a:pt x="299872" y="56075"/>
                  </a:cubicBezTo>
                  <a:close/>
                  <a:moveTo>
                    <a:pt x="307333" y="0"/>
                  </a:moveTo>
                  <a:cubicBezTo>
                    <a:pt x="407043" y="0"/>
                    <a:pt x="488101" y="80941"/>
                    <a:pt x="488101" y="180507"/>
                  </a:cubicBezTo>
                  <a:cubicBezTo>
                    <a:pt x="488101" y="279971"/>
                    <a:pt x="407043" y="361013"/>
                    <a:pt x="307333" y="361013"/>
                  </a:cubicBezTo>
                  <a:cubicBezTo>
                    <a:pt x="207724" y="361013"/>
                    <a:pt x="126665" y="279971"/>
                    <a:pt x="126665" y="180507"/>
                  </a:cubicBezTo>
                  <a:cubicBezTo>
                    <a:pt x="126665" y="80941"/>
                    <a:pt x="207724" y="0"/>
                    <a:pt x="307333" y="0"/>
                  </a:cubicBezTo>
                  <a:close/>
                </a:path>
              </a:pathLst>
            </a:custGeom>
            <a:solidFill>
              <a:schemeClr val="bg1"/>
            </a:solidFill>
            <a:ln>
              <a:noFill/>
            </a:ln>
          </p:spPr>
          <p:txBody>
            <a:bodyPr anchor="ctr"/>
            <a:lstStyle/>
            <a:p>
              <a:pPr algn="ctr"/>
            </a:p>
          </p:txBody>
        </p:sp>
        <p:sp>
          <p:nvSpPr>
            <p:cNvPr id="12" name="îSḻîḍe"/>
            <p:cNvSpPr/>
            <p:nvPr/>
          </p:nvSpPr>
          <p:spPr>
            <a:xfrm>
              <a:off x="4788097" y="2123615"/>
              <a:ext cx="1396065" cy="946505"/>
            </a:xfrm>
            <a:custGeom>
              <a:avLst/>
              <a:gdLst>
                <a:gd name="connsiteX0" fmla="*/ 648072 w 1911772"/>
                <a:gd name="connsiteY0" fmla="*/ 0 h 1296144"/>
                <a:gd name="connsiteX1" fmla="*/ 1296144 w 1911772"/>
                <a:gd name="connsiteY1" fmla="*/ 648072 h 1296144"/>
                <a:gd name="connsiteX2" fmla="*/ 1284833 w 1911772"/>
                <a:gd name="connsiteY2" fmla="*/ 760287 h 1296144"/>
                <a:gd name="connsiteX3" fmla="*/ 1319472 w 1911772"/>
                <a:gd name="connsiteY3" fmla="*/ 746539 h 1296144"/>
                <a:gd name="connsiteX4" fmla="*/ 1696179 w 1911772"/>
                <a:gd name="connsiteY4" fmla="*/ 680256 h 1296144"/>
                <a:gd name="connsiteX5" fmla="*/ 1699441 w 1911772"/>
                <a:gd name="connsiteY5" fmla="*/ 652509 h 1296144"/>
                <a:gd name="connsiteX6" fmla="*/ 1911772 w 1911772"/>
                <a:gd name="connsiteY6" fmla="*/ 716676 h 1296144"/>
                <a:gd name="connsiteX7" fmla="*/ 1686302 w 1911772"/>
                <a:gd name="connsiteY7" fmla="*/ 764303 h 1296144"/>
                <a:gd name="connsiteX8" fmla="*/ 1689560 w 1911772"/>
                <a:gd name="connsiteY8" fmla="*/ 736571 h 1296144"/>
                <a:gd name="connsiteX9" fmla="*/ 1332382 w 1911772"/>
                <a:gd name="connsiteY9" fmla="*/ 801206 h 1296144"/>
                <a:gd name="connsiteX10" fmla="*/ 1187203 w 1911772"/>
                <a:gd name="connsiteY10" fmla="*/ 859235 h 1296144"/>
                <a:gd name="connsiteX11" fmla="*/ 1130798 w 1911772"/>
                <a:gd name="connsiteY11" fmla="*/ 887254 h 1296144"/>
                <a:gd name="connsiteX12" fmla="*/ 1048150 w 1911772"/>
                <a:gd name="connsiteY12" fmla="*/ 933976 h 1296144"/>
                <a:gd name="connsiteX13" fmla="*/ 938465 w 1911772"/>
                <a:gd name="connsiteY13" fmla="*/ 1006157 h 1296144"/>
                <a:gd name="connsiteX14" fmla="*/ 688866 w 1911772"/>
                <a:gd name="connsiteY14" fmla="*/ 1244106 h 1296144"/>
                <a:gd name="connsiteX15" fmla="*/ 650107 w 1911772"/>
                <a:gd name="connsiteY15" fmla="*/ 1295939 h 1296144"/>
                <a:gd name="connsiteX16" fmla="*/ 648072 w 1911772"/>
                <a:gd name="connsiteY16" fmla="*/ 1296144 h 1296144"/>
                <a:gd name="connsiteX17" fmla="*/ 0 w 1911772"/>
                <a:gd name="connsiteY17" fmla="*/ 648072 h 1296144"/>
                <a:gd name="connsiteX18" fmla="*/ 648072 w 1911772"/>
                <a:gd name="connsiteY18" fmla="*/ 0 h 129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1772" h="1296144">
                  <a:moveTo>
                    <a:pt x="648072" y="0"/>
                  </a:moveTo>
                  <a:cubicBezTo>
                    <a:pt x="1005992" y="0"/>
                    <a:pt x="1296144" y="290152"/>
                    <a:pt x="1296144" y="648072"/>
                  </a:cubicBezTo>
                  <a:lnTo>
                    <a:pt x="1284833" y="760287"/>
                  </a:lnTo>
                  <a:lnTo>
                    <a:pt x="1319472" y="746539"/>
                  </a:lnTo>
                  <a:cubicBezTo>
                    <a:pt x="1440896" y="707637"/>
                    <a:pt x="1567590" y="685183"/>
                    <a:pt x="1696179" y="680256"/>
                  </a:cubicBezTo>
                  <a:lnTo>
                    <a:pt x="1699441" y="652509"/>
                  </a:lnTo>
                  <a:lnTo>
                    <a:pt x="1911772" y="716676"/>
                  </a:lnTo>
                  <a:lnTo>
                    <a:pt x="1686302" y="764303"/>
                  </a:lnTo>
                  <a:lnTo>
                    <a:pt x="1689560" y="736571"/>
                  </a:lnTo>
                  <a:cubicBezTo>
                    <a:pt x="1567591" y="742035"/>
                    <a:pt x="1447491" y="763917"/>
                    <a:pt x="1332382" y="801206"/>
                  </a:cubicBezTo>
                  <a:lnTo>
                    <a:pt x="1187203" y="859235"/>
                  </a:lnTo>
                  <a:lnTo>
                    <a:pt x="1130798" y="887254"/>
                  </a:lnTo>
                  <a:lnTo>
                    <a:pt x="1048150" y="933976"/>
                  </a:lnTo>
                  <a:lnTo>
                    <a:pt x="938465" y="1006157"/>
                  </a:lnTo>
                  <a:cubicBezTo>
                    <a:pt x="846060" y="1075263"/>
                    <a:pt x="762232" y="1155208"/>
                    <a:pt x="688866" y="1244106"/>
                  </a:cubicBezTo>
                  <a:lnTo>
                    <a:pt x="650107" y="1295939"/>
                  </a:lnTo>
                  <a:lnTo>
                    <a:pt x="648072" y="1296144"/>
                  </a:lnTo>
                  <a:cubicBezTo>
                    <a:pt x="290152" y="1296144"/>
                    <a:pt x="0" y="1005992"/>
                    <a:pt x="0" y="648072"/>
                  </a:cubicBezTo>
                  <a:cubicBezTo>
                    <a:pt x="0" y="290152"/>
                    <a:pt x="290152" y="0"/>
                    <a:pt x="648072"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3" name="ïṩľîḍè"/>
            <p:cNvSpPr/>
            <p:nvPr/>
          </p:nvSpPr>
          <p:spPr bwMode="auto">
            <a:xfrm>
              <a:off x="5069811" y="2411815"/>
              <a:ext cx="383655" cy="369530"/>
            </a:xfrm>
            <a:custGeom>
              <a:avLst/>
              <a:gdLst>
                <a:gd name="T0" fmla="*/ 4096 w 6827"/>
                <a:gd name="T1" fmla="*/ 4551 h 6827"/>
                <a:gd name="T2" fmla="*/ 6258 w 6827"/>
                <a:gd name="T3" fmla="*/ 4096 h 6827"/>
                <a:gd name="T4" fmla="*/ 2348 w 6827"/>
                <a:gd name="T5" fmla="*/ 4911 h 6827"/>
                <a:gd name="T6" fmla="*/ 569 w 6827"/>
                <a:gd name="T7" fmla="*/ 4551 h 6827"/>
                <a:gd name="T8" fmla="*/ 569 w 6827"/>
                <a:gd name="T9" fmla="*/ 3982 h 6827"/>
                <a:gd name="T10" fmla="*/ 1707 w 6827"/>
                <a:gd name="T11" fmla="*/ 2503 h 6827"/>
                <a:gd name="T12" fmla="*/ 3868 w 6827"/>
                <a:gd name="T13" fmla="*/ 2731 h 6827"/>
                <a:gd name="T14" fmla="*/ 5827 w 6827"/>
                <a:gd name="T15" fmla="*/ 2004 h 6827"/>
                <a:gd name="T16" fmla="*/ 6258 w 6827"/>
                <a:gd name="T17" fmla="*/ 1820 h 6827"/>
                <a:gd name="T18" fmla="*/ 4779 w 6827"/>
                <a:gd name="T19" fmla="*/ 0 h 6827"/>
                <a:gd name="T20" fmla="*/ 2854 w 6827"/>
                <a:gd name="T21" fmla="*/ 2381 h 6827"/>
                <a:gd name="T22" fmla="*/ 1239 w 6827"/>
                <a:gd name="T23" fmla="*/ 2257 h 6827"/>
                <a:gd name="T24" fmla="*/ 569 w 6827"/>
                <a:gd name="T25" fmla="*/ 2844 h 6827"/>
                <a:gd name="T26" fmla="*/ 569 w 6827"/>
                <a:gd name="T27" fmla="*/ 2276 h 6827"/>
                <a:gd name="T28" fmla="*/ 569 w 6827"/>
                <a:gd name="T29" fmla="*/ 1707 h 6827"/>
                <a:gd name="T30" fmla="*/ 569 w 6827"/>
                <a:gd name="T31" fmla="*/ 1138 h 6827"/>
                <a:gd name="T32" fmla="*/ 569 w 6827"/>
                <a:gd name="T33" fmla="*/ 569 h 6827"/>
                <a:gd name="T34" fmla="*/ 341 w 6827"/>
                <a:gd name="T35" fmla="*/ 0 h 6827"/>
                <a:gd name="T36" fmla="*/ 114 w 6827"/>
                <a:gd name="T37" fmla="*/ 569 h 6827"/>
                <a:gd name="T38" fmla="*/ 114 w 6827"/>
                <a:gd name="T39" fmla="*/ 1138 h 6827"/>
                <a:gd name="T40" fmla="*/ 114 w 6827"/>
                <a:gd name="T41" fmla="*/ 1707 h 6827"/>
                <a:gd name="T42" fmla="*/ 114 w 6827"/>
                <a:gd name="T43" fmla="*/ 2276 h 6827"/>
                <a:gd name="T44" fmla="*/ 114 w 6827"/>
                <a:gd name="T45" fmla="*/ 2844 h 6827"/>
                <a:gd name="T46" fmla="*/ 114 w 6827"/>
                <a:gd name="T47" fmla="*/ 3413 h 6827"/>
                <a:gd name="T48" fmla="*/ 114 w 6827"/>
                <a:gd name="T49" fmla="*/ 3982 h 6827"/>
                <a:gd name="T50" fmla="*/ 114 w 6827"/>
                <a:gd name="T51" fmla="*/ 4551 h 6827"/>
                <a:gd name="T52" fmla="*/ 114 w 6827"/>
                <a:gd name="T53" fmla="*/ 5120 h 6827"/>
                <a:gd name="T54" fmla="*/ 114 w 6827"/>
                <a:gd name="T55" fmla="*/ 5689 h 6827"/>
                <a:gd name="T56" fmla="*/ 114 w 6827"/>
                <a:gd name="T57" fmla="*/ 6258 h 6827"/>
                <a:gd name="T58" fmla="*/ 683 w 6827"/>
                <a:gd name="T59" fmla="*/ 6713 h 6827"/>
                <a:gd name="T60" fmla="*/ 1252 w 6827"/>
                <a:gd name="T61" fmla="*/ 6713 h 6827"/>
                <a:gd name="T62" fmla="*/ 1820 w 6827"/>
                <a:gd name="T63" fmla="*/ 6713 h 6827"/>
                <a:gd name="T64" fmla="*/ 2389 w 6827"/>
                <a:gd name="T65" fmla="*/ 6713 h 6827"/>
                <a:gd name="T66" fmla="*/ 2958 w 6827"/>
                <a:gd name="T67" fmla="*/ 6713 h 6827"/>
                <a:gd name="T68" fmla="*/ 3527 w 6827"/>
                <a:gd name="T69" fmla="*/ 6713 h 6827"/>
                <a:gd name="T70" fmla="*/ 4096 w 6827"/>
                <a:gd name="T71" fmla="*/ 6713 h 6827"/>
                <a:gd name="T72" fmla="*/ 4665 w 6827"/>
                <a:gd name="T73" fmla="*/ 6713 h 6827"/>
                <a:gd name="T74" fmla="*/ 5234 w 6827"/>
                <a:gd name="T75" fmla="*/ 6713 h 6827"/>
                <a:gd name="T76" fmla="*/ 5803 w 6827"/>
                <a:gd name="T77" fmla="*/ 6713 h 6827"/>
                <a:gd name="T78" fmla="*/ 6371 w 6827"/>
                <a:gd name="T79" fmla="*/ 6713 h 6827"/>
                <a:gd name="T80" fmla="*/ 6827 w 6827"/>
                <a:gd name="T81" fmla="*/ 6485 h 6827"/>
                <a:gd name="T82" fmla="*/ 6371 w 6827"/>
                <a:gd name="T83" fmla="*/ 6258 h 6827"/>
                <a:gd name="T84" fmla="*/ 5803 w 6827"/>
                <a:gd name="T85" fmla="*/ 6258 h 6827"/>
                <a:gd name="T86" fmla="*/ 5234 w 6827"/>
                <a:gd name="T87" fmla="*/ 6258 h 6827"/>
                <a:gd name="T88" fmla="*/ 4665 w 6827"/>
                <a:gd name="T89" fmla="*/ 6258 h 6827"/>
                <a:gd name="T90" fmla="*/ 4096 w 6827"/>
                <a:gd name="T91" fmla="*/ 6258 h 6827"/>
                <a:gd name="T92" fmla="*/ 3527 w 6827"/>
                <a:gd name="T93" fmla="*/ 6258 h 6827"/>
                <a:gd name="T94" fmla="*/ 2958 w 6827"/>
                <a:gd name="T95" fmla="*/ 6258 h 6827"/>
                <a:gd name="T96" fmla="*/ 2389 w 6827"/>
                <a:gd name="T97" fmla="*/ 6258 h 6827"/>
                <a:gd name="T98" fmla="*/ 1820 w 6827"/>
                <a:gd name="T99" fmla="*/ 6258 h 6827"/>
                <a:gd name="T100" fmla="*/ 1252 w 6827"/>
                <a:gd name="T101" fmla="*/ 6258 h 6827"/>
                <a:gd name="T102" fmla="*/ 683 w 6827"/>
                <a:gd name="T103" fmla="*/ 6258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27" h="6827">
                  <a:moveTo>
                    <a:pt x="1263" y="5234"/>
                  </a:moveTo>
                  <a:cubicBezTo>
                    <a:pt x="1316" y="5493"/>
                    <a:pt x="1546" y="5689"/>
                    <a:pt x="1820" y="5689"/>
                  </a:cubicBezTo>
                  <a:cubicBezTo>
                    <a:pt x="2114" y="5689"/>
                    <a:pt x="2354" y="5464"/>
                    <a:pt x="2383" y="5178"/>
                  </a:cubicBezTo>
                  <a:lnTo>
                    <a:pt x="3568" y="4191"/>
                  </a:lnTo>
                  <a:cubicBezTo>
                    <a:pt x="3652" y="4401"/>
                    <a:pt x="3856" y="4551"/>
                    <a:pt x="4096" y="4551"/>
                  </a:cubicBezTo>
                  <a:cubicBezTo>
                    <a:pt x="4348" y="4551"/>
                    <a:pt x="4560" y="4385"/>
                    <a:pt x="4635" y="4157"/>
                  </a:cubicBezTo>
                  <a:lnTo>
                    <a:pt x="5696" y="4736"/>
                  </a:lnTo>
                  <a:cubicBezTo>
                    <a:pt x="5732" y="5016"/>
                    <a:pt x="5969" y="5234"/>
                    <a:pt x="6258" y="5234"/>
                  </a:cubicBezTo>
                  <a:cubicBezTo>
                    <a:pt x="6571" y="5234"/>
                    <a:pt x="6827" y="4979"/>
                    <a:pt x="6827" y="4665"/>
                  </a:cubicBezTo>
                  <a:cubicBezTo>
                    <a:pt x="6827" y="4351"/>
                    <a:pt x="6571" y="4096"/>
                    <a:pt x="6258" y="4096"/>
                  </a:cubicBezTo>
                  <a:cubicBezTo>
                    <a:pt x="6006" y="4096"/>
                    <a:pt x="5794" y="4262"/>
                    <a:pt x="5719" y="4490"/>
                  </a:cubicBezTo>
                  <a:lnTo>
                    <a:pt x="4658" y="3911"/>
                  </a:lnTo>
                  <a:cubicBezTo>
                    <a:pt x="4622" y="3631"/>
                    <a:pt x="4385" y="3413"/>
                    <a:pt x="4096" y="3413"/>
                  </a:cubicBezTo>
                  <a:cubicBezTo>
                    <a:pt x="3802" y="3413"/>
                    <a:pt x="3563" y="3638"/>
                    <a:pt x="3533" y="3924"/>
                  </a:cubicBezTo>
                  <a:lnTo>
                    <a:pt x="2348" y="4911"/>
                  </a:lnTo>
                  <a:cubicBezTo>
                    <a:pt x="2265" y="4701"/>
                    <a:pt x="2060" y="4551"/>
                    <a:pt x="1820" y="4551"/>
                  </a:cubicBezTo>
                  <a:cubicBezTo>
                    <a:pt x="1546" y="4551"/>
                    <a:pt x="1316" y="4747"/>
                    <a:pt x="1263" y="5006"/>
                  </a:cubicBezTo>
                  <a:lnTo>
                    <a:pt x="455" y="5006"/>
                  </a:lnTo>
                  <a:lnTo>
                    <a:pt x="455" y="4551"/>
                  </a:lnTo>
                  <a:lnTo>
                    <a:pt x="569" y="4551"/>
                  </a:lnTo>
                  <a:cubicBezTo>
                    <a:pt x="632" y="4551"/>
                    <a:pt x="683" y="4500"/>
                    <a:pt x="683" y="4437"/>
                  </a:cubicBezTo>
                  <a:cubicBezTo>
                    <a:pt x="683" y="4374"/>
                    <a:pt x="632" y="4324"/>
                    <a:pt x="569" y="4324"/>
                  </a:cubicBezTo>
                  <a:lnTo>
                    <a:pt x="455" y="4324"/>
                  </a:lnTo>
                  <a:lnTo>
                    <a:pt x="455" y="3982"/>
                  </a:lnTo>
                  <a:lnTo>
                    <a:pt x="569" y="3982"/>
                  </a:lnTo>
                  <a:cubicBezTo>
                    <a:pt x="632" y="3982"/>
                    <a:pt x="683" y="3931"/>
                    <a:pt x="683" y="3868"/>
                  </a:cubicBezTo>
                  <a:cubicBezTo>
                    <a:pt x="683" y="3806"/>
                    <a:pt x="632" y="3755"/>
                    <a:pt x="569" y="3755"/>
                  </a:cubicBezTo>
                  <a:lnTo>
                    <a:pt x="480" y="3755"/>
                  </a:lnTo>
                  <a:lnTo>
                    <a:pt x="1407" y="2416"/>
                  </a:lnTo>
                  <a:cubicBezTo>
                    <a:pt x="1494" y="2470"/>
                    <a:pt x="1596" y="2503"/>
                    <a:pt x="1707" y="2503"/>
                  </a:cubicBezTo>
                  <a:cubicBezTo>
                    <a:pt x="1888" y="2503"/>
                    <a:pt x="2048" y="2416"/>
                    <a:pt x="2152" y="2284"/>
                  </a:cubicBezTo>
                  <a:lnTo>
                    <a:pt x="2752" y="2584"/>
                  </a:lnTo>
                  <a:cubicBezTo>
                    <a:pt x="2740" y="2631"/>
                    <a:pt x="2731" y="2680"/>
                    <a:pt x="2731" y="2731"/>
                  </a:cubicBezTo>
                  <a:cubicBezTo>
                    <a:pt x="2731" y="3044"/>
                    <a:pt x="2986" y="3300"/>
                    <a:pt x="3300" y="3300"/>
                  </a:cubicBezTo>
                  <a:cubicBezTo>
                    <a:pt x="3613" y="3300"/>
                    <a:pt x="3868" y="3044"/>
                    <a:pt x="3868" y="2731"/>
                  </a:cubicBezTo>
                  <a:cubicBezTo>
                    <a:pt x="3868" y="2608"/>
                    <a:pt x="3829" y="2496"/>
                    <a:pt x="3763" y="2403"/>
                  </a:cubicBezTo>
                  <a:lnTo>
                    <a:pt x="4488" y="1055"/>
                  </a:lnTo>
                  <a:cubicBezTo>
                    <a:pt x="4574" y="1107"/>
                    <a:pt x="4672" y="1138"/>
                    <a:pt x="4779" y="1138"/>
                  </a:cubicBezTo>
                  <a:cubicBezTo>
                    <a:pt x="4891" y="1138"/>
                    <a:pt x="4995" y="1104"/>
                    <a:pt x="5083" y="1048"/>
                  </a:cubicBezTo>
                  <a:lnTo>
                    <a:pt x="5827" y="2004"/>
                  </a:lnTo>
                  <a:cubicBezTo>
                    <a:pt x="5829" y="2007"/>
                    <a:pt x="5833" y="2009"/>
                    <a:pt x="5836" y="2011"/>
                  </a:cubicBezTo>
                  <a:cubicBezTo>
                    <a:pt x="5745" y="2112"/>
                    <a:pt x="5689" y="2244"/>
                    <a:pt x="5689" y="2389"/>
                  </a:cubicBezTo>
                  <a:cubicBezTo>
                    <a:pt x="5689" y="2703"/>
                    <a:pt x="5944" y="2958"/>
                    <a:pt x="6258" y="2958"/>
                  </a:cubicBezTo>
                  <a:cubicBezTo>
                    <a:pt x="6571" y="2958"/>
                    <a:pt x="6827" y="2703"/>
                    <a:pt x="6827" y="2389"/>
                  </a:cubicBezTo>
                  <a:cubicBezTo>
                    <a:pt x="6827" y="2076"/>
                    <a:pt x="6571" y="1820"/>
                    <a:pt x="6258" y="1820"/>
                  </a:cubicBezTo>
                  <a:cubicBezTo>
                    <a:pt x="6170" y="1820"/>
                    <a:pt x="6087" y="1842"/>
                    <a:pt x="6013" y="1878"/>
                  </a:cubicBezTo>
                  <a:cubicBezTo>
                    <a:pt x="6010" y="1874"/>
                    <a:pt x="6010" y="1869"/>
                    <a:pt x="6006" y="1864"/>
                  </a:cubicBezTo>
                  <a:lnTo>
                    <a:pt x="5248" y="890"/>
                  </a:lnTo>
                  <a:cubicBezTo>
                    <a:pt x="5311" y="798"/>
                    <a:pt x="5348" y="688"/>
                    <a:pt x="5348" y="569"/>
                  </a:cubicBezTo>
                  <a:cubicBezTo>
                    <a:pt x="5348" y="255"/>
                    <a:pt x="5092" y="0"/>
                    <a:pt x="4779" y="0"/>
                  </a:cubicBezTo>
                  <a:cubicBezTo>
                    <a:pt x="4465" y="0"/>
                    <a:pt x="4210" y="255"/>
                    <a:pt x="4210" y="569"/>
                  </a:cubicBezTo>
                  <a:cubicBezTo>
                    <a:pt x="4210" y="691"/>
                    <a:pt x="4249" y="804"/>
                    <a:pt x="4315" y="897"/>
                  </a:cubicBezTo>
                  <a:lnTo>
                    <a:pt x="3590" y="2244"/>
                  </a:lnTo>
                  <a:cubicBezTo>
                    <a:pt x="3505" y="2193"/>
                    <a:pt x="3406" y="2162"/>
                    <a:pt x="3300" y="2162"/>
                  </a:cubicBezTo>
                  <a:cubicBezTo>
                    <a:pt x="3118" y="2162"/>
                    <a:pt x="2959" y="2248"/>
                    <a:pt x="2854" y="2381"/>
                  </a:cubicBezTo>
                  <a:lnTo>
                    <a:pt x="2254" y="2081"/>
                  </a:lnTo>
                  <a:cubicBezTo>
                    <a:pt x="2267" y="2034"/>
                    <a:pt x="2276" y="1985"/>
                    <a:pt x="2276" y="1934"/>
                  </a:cubicBezTo>
                  <a:cubicBezTo>
                    <a:pt x="2276" y="1621"/>
                    <a:pt x="2020" y="1365"/>
                    <a:pt x="1707" y="1365"/>
                  </a:cubicBezTo>
                  <a:cubicBezTo>
                    <a:pt x="1393" y="1365"/>
                    <a:pt x="1138" y="1621"/>
                    <a:pt x="1138" y="1934"/>
                  </a:cubicBezTo>
                  <a:cubicBezTo>
                    <a:pt x="1138" y="2054"/>
                    <a:pt x="1176" y="2166"/>
                    <a:pt x="1239" y="2257"/>
                  </a:cubicBezTo>
                  <a:lnTo>
                    <a:pt x="593" y="3191"/>
                  </a:lnTo>
                  <a:cubicBezTo>
                    <a:pt x="585" y="3189"/>
                    <a:pt x="578" y="3186"/>
                    <a:pt x="569" y="3186"/>
                  </a:cubicBezTo>
                  <a:lnTo>
                    <a:pt x="455" y="3186"/>
                  </a:lnTo>
                  <a:lnTo>
                    <a:pt x="455" y="2844"/>
                  </a:lnTo>
                  <a:lnTo>
                    <a:pt x="569" y="2844"/>
                  </a:lnTo>
                  <a:cubicBezTo>
                    <a:pt x="632" y="2844"/>
                    <a:pt x="683" y="2794"/>
                    <a:pt x="683" y="2731"/>
                  </a:cubicBezTo>
                  <a:cubicBezTo>
                    <a:pt x="683" y="2668"/>
                    <a:pt x="632" y="2617"/>
                    <a:pt x="569" y="2617"/>
                  </a:cubicBezTo>
                  <a:lnTo>
                    <a:pt x="455" y="2617"/>
                  </a:lnTo>
                  <a:lnTo>
                    <a:pt x="455" y="2276"/>
                  </a:lnTo>
                  <a:lnTo>
                    <a:pt x="569" y="2276"/>
                  </a:lnTo>
                  <a:cubicBezTo>
                    <a:pt x="632" y="2276"/>
                    <a:pt x="683" y="2225"/>
                    <a:pt x="683" y="2162"/>
                  </a:cubicBezTo>
                  <a:cubicBezTo>
                    <a:pt x="683" y="2099"/>
                    <a:pt x="632" y="2048"/>
                    <a:pt x="569" y="2048"/>
                  </a:cubicBezTo>
                  <a:lnTo>
                    <a:pt x="455" y="2048"/>
                  </a:lnTo>
                  <a:lnTo>
                    <a:pt x="455" y="1707"/>
                  </a:lnTo>
                  <a:lnTo>
                    <a:pt x="569" y="1707"/>
                  </a:lnTo>
                  <a:cubicBezTo>
                    <a:pt x="632" y="1707"/>
                    <a:pt x="683" y="1656"/>
                    <a:pt x="683" y="1593"/>
                  </a:cubicBezTo>
                  <a:cubicBezTo>
                    <a:pt x="683" y="1530"/>
                    <a:pt x="632" y="1479"/>
                    <a:pt x="569" y="1479"/>
                  </a:cubicBezTo>
                  <a:lnTo>
                    <a:pt x="455" y="1479"/>
                  </a:lnTo>
                  <a:lnTo>
                    <a:pt x="455" y="1138"/>
                  </a:lnTo>
                  <a:lnTo>
                    <a:pt x="569" y="1138"/>
                  </a:lnTo>
                  <a:cubicBezTo>
                    <a:pt x="632" y="1138"/>
                    <a:pt x="683" y="1087"/>
                    <a:pt x="683" y="1024"/>
                  </a:cubicBezTo>
                  <a:cubicBezTo>
                    <a:pt x="683" y="961"/>
                    <a:pt x="632" y="910"/>
                    <a:pt x="569" y="910"/>
                  </a:cubicBezTo>
                  <a:lnTo>
                    <a:pt x="455" y="910"/>
                  </a:lnTo>
                  <a:lnTo>
                    <a:pt x="455" y="569"/>
                  </a:lnTo>
                  <a:lnTo>
                    <a:pt x="569" y="569"/>
                  </a:lnTo>
                  <a:cubicBezTo>
                    <a:pt x="632" y="569"/>
                    <a:pt x="683" y="518"/>
                    <a:pt x="683" y="455"/>
                  </a:cubicBezTo>
                  <a:cubicBezTo>
                    <a:pt x="683" y="392"/>
                    <a:pt x="632" y="341"/>
                    <a:pt x="569" y="341"/>
                  </a:cubicBezTo>
                  <a:lnTo>
                    <a:pt x="455" y="341"/>
                  </a:lnTo>
                  <a:lnTo>
                    <a:pt x="455" y="114"/>
                  </a:lnTo>
                  <a:cubicBezTo>
                    <a:pt x="455" y="51"/>
                    <a:pt x="404" y="0"/>
                    <a:pt x="341" y="0"/>
                  </a:cubicBezTo>
                  <a:cubicBezTo>
                    <a:pt x="278" y="0"/>
                    <a:pt x="228" y="51"/>
                    <a:pt x="228" y="114"/>
                  </a:cubicBezTo>
                  <a:lnTo>
                    <a:pt x="228" y="341"/>
                  </a:lnTo>
                  <a:lnTo>
                    <a:pt x="114" y="341"/>
                  </a:lnTo>
                  <a:cubicBezTo>
                    <a:pt x="51" y="341"/>
                    <a:pt x="0" y="392"/>
                    <a:pt x="0" y="455"/>
                  </a:cubicBezTo>
                  <a:cubicBezTo>
                    <a:pt x="0" y="518"/>
                    <a:pt x="51" y="569"/>
                    <a:pt x="114" y="569"/>
                  </a:cubicBezTo>
                  <a:lnTo>
                    <a:pt x="228" y="569"/>
                  </a:lnTo>
                  <a:lnTo>
                    <a:pt x="228" y="910"/>
                  </a:lnTo>
                  <a:lnTo>
                    <a:pt x="114" y="910"/>
                  </a:lnTo>
                  <a:cubicBezTo>
                    <a:pt x="51" y="910"/>
                    <a:pt x="0" y="961"/>
                    <a:pt x="0" y="1024"/>
                  </a:cubicBezTo>
                  <a:cubicBezTo>
                    <a:pt x="0" y="1087"/>
                    <a:pt x="51" y="1138"/>
                    <a:pt x="114" y="1138"/>
                  </a:cubicBezTo>
                  <a:lnTo>
                    <a:pt x="228" y="1138"/>
                  </a:lnTo>
                  <a:lnTo>
                    <a:pt x="228" y="1479"/>
                  </a:lnTo>
                  <a:lnTo>
                    <a:pt x="114" y="1479"/>
                  </a:lnTo>
                  <a:cubicBezTo>
                    <a:pt x="51" y="1479"/>
                    <a:pt x="0" y="1530"/>
                    <a:pt x="0" y="1593"/>
                  </a:cubicBezTo>
                  <a:cubicBezTo>
                    <a:pt x="0" y="1656"/>
                    <a:pt x="51" y="1707"/>
                    <a:pt x="114" y="1707"/>
                  </a:cubicBezTo>
                  <a:lnTo>
                    <a:pt x="228" y="1707"/>
                  </a:lnTo>
                  <a:lnTo>
                    <a:pt x="228" y="2048"/>
                  </a:lnTo>
                  <a:lnTo>
                    <a:pt x="114" y="2048"/>
                  </a:lnTo>
                  <a:cubicBezTo>
                    <a:pt x="51" y="2048"/>
                    <a:pt x="0" y="2099"/>
                    <a:pt x="0" y="2162"/>
                  </a:cubicBezTo>
                  <a:cubicBezTo>
                    <a:pt x="0" y="2225"/>
                    <a:pt x="51" y="2276"/>
                    <a:pt x="114" y="2276"/>
                  </a:cubicBezTo>
                  <a:lnTo>
                    <a:pt x="228" y="2276"/>
                  </a:lnTo>
                  <a:lnTo>
                    <a:pt x="228" y="2617"/>
                  </a:lnTo>
                  <a:lnTo>
                    <a:pt x="114" y="2617"/>
                  </a:lnTo>
                  <a:cubicBezTo>
                    <a:pt x="51" y="2617"/>
                    <a:pt x="0" y="2668"/>
                    <a:pt x="0" y="2731"/>
                  </a:cubicBezTo>
                  <a:cubicBezTo>
                    <a:pt x="0" y="2794"/>
                    <a:pt x="51" y="2844"/>
                    <a:pt x="114" y="2844"/>
                  </a:cubicBezTo>
                  <a:lnTo>
                    <a:pt x="228" y="2844"/>
                  </a:lnTo>
                  <a:lnTo>
                    <a:pt x="228" y="3186"/>
                  </a:lnTo>
                  <a:lnTo>
                    <a:pt x="114" y="3186"/>
                  </a:lnTo>
                  <a:cubicBezTo>
                    <a:pt x="51" y="3186"/>
                    <a:pt x="0" y="3237"/>
                    <a:pt x="0" y="3300"/>
                  </a:cubicBezTo>
                  <a:cubicBezTo>
                    <a:pt x="0" y="3362"/>
                    <a:pt x="51" y="3413"/>
                    <a:pt x="114" y="3413"/>
                  </a:cubicBezTo>
                  <a:lnTo>
                    <a:pt x="228" y="3413"/>
                  </a:lnTo>
                  <a:lnTo>
                    <a:pt x="228" y="3755"/>
                  </a:lnTo>
                  <a:lnTo>
                    <a:pt x="114" y="3755"/>
                  </a:lnTo>
                  <a:cubicBezTo>
                    <a:pt x="51" y="3755"/>
                    <a:pt x="0" y="3806"/>
                    <a:pt x="0" y="3868"/>
                  </a:cubicBezTo>
                  <a:cubicBezTo>
                    <a:pt x="0" y="3931"/>
                    <a:pt x="51" y="3982"/>
                    <a:pt x="114" y="3982"/>
                  </a:cubicBezTo>
                  <a:lnTo>
                    <a:pt x="228" y="3982"/>
                  </a:lnTo>
                  <a:lnTo>
                    <a:pt x="228" y="4324"/>
                  </a:lnTo>
                  <a:lnTo>
                    <a:pt x="114" y="4324"/>
                  </a:lnTo>
                  <a:cubicBezTo>
                    <a:pt x="51" y="4324"/>
                    <a:pt x="0" y="4374"/>
                    <a:pt x="0" y="4437"/>
                  </a:cubicBezTo>
                  <a:cubicBezTo>
                    <a:pt x="0" y="4500"/>
                    <a:pt x="51" y="4551"/>
                    <a:pt x="114" y="4551"/>
                  </a:cubicBezTo>
                  <a:lnTo>
                    <a:pt x="228" y="4551"/>
                  </a:lnTo>
                  <a:lnTo>
                    <a:pt x="228" y="4892"/>
                  </a:lnTo>
                  <a:lnTo>
                    <a:pt x="114" y="4892"/>
                  </a:lnTo>
                  <a:cubicBezTo>
                    <a:pt x="51" y="4892"/>
                    <a:pt x="0" y="4943"/>
                    <a:pt x="0" y="5006"/>
                  </a:cubicBezTo>
                  <a:cubicBezTo>
                    <a:pt x="0" y="5069"/>
                    <a:pt x="51" y="5120"/>
                    <a:pt x="114" y="5120"/>
                  </a:cubicBezTo>
                  <a:lnTo>
                    <a:pt x="228" y="5120"/>
                  </a:lnTo>
                  <a:lnTo>
                    <a:pt x="228" y="5461"/>
                  </a:lnTo>
                  <a:lnTo>
                    <a:pt x="114" y="5461"/>
                  </a:lnTo>
                  <a:cubicBezTo>
                    <a:pt x="51" y="5461"/>
                    <a:pt x="0" y="5512"/>
                    <a:pt x="0" y="5575"/>
                  </a:cubicBezTo>
                  <a:cubicBezTo>
                    <a:pt x="0" y="5638"/>
                    <a:pt x="51" y="5689"/>
                    <a:pt x="114" y="5689"/>
                  </a:cubicBezTo>
                  <a:lnTo>
                    <a:pt x="228" y="5689"/>
                  </a:lnTo>
                  <a:lnTo>
                    <a:pt x="228" y="6030"/>
                  </a:lnTo>
                  <a:lnTo>
                    <a:pt x="114" y="6030"/>
                  </a:lnTo>
                  <a:cubicBezTo>
                    <a:pt x="51" y="6030"/>
                    <a:pt x="0" y="6081"/>
                    <a:pt x="0" y="6144"/>
                  </a:cubicBezTo>
                  <a:cubicBezTo>
                    <a:pt x="0" y="6207"/>
                    <a:pt x="51" y="6258"/>
                    <a:pt x="114" y="6258"/>
                  </a:cubicBezTo>
                  <a:lnTo>
                    <a:pt x="228" y="6258"/>
                  </a:lnTo>
                  <a:lnTo>
                    <a:pt x="228" y="6485"/>
                  </a:lnTo>
                  <a:cubicBezTo>
                    <a:pt x="228" y="6548"/>
                    <a:pt x="278" y="6599"/>
                    <a:pt x="341" y="6599"/>
                  </a:cubicBezTo>
                  <a:lnTo>
                    <a:pt x="683" y="6599"/>
                  </a:lnTo>
                  <a:lnTo>
                    <a:pt x="683" y="6713"/>
                  </a:lnTo>
                  <a:cubicBezTo>
                    <a:pt x="683" y="6776"/>
                    <a:pt x="734" y="6827"/>
                    <a:pt x="796" y="6827"/>
                  </a:cubicBezTo>
                  <a:cubicBezTo>
                    <a:pt x="859" y="6827"/>
                    <a:pt x="910" y="6776"/>
                    <a:pt x="910" y="6713"/>
                  </a:cubicBezTo>
                  <a:lnTo>
                    <a:pt x="910" y="6599"/>
                  </a:lnTo>
                  <a:lnTo>
                    <a:pt x="1252" y="6599"/>
                  </a:lnTo>
                  <a:lnTo>
                    <a:pt x="1252" y="6713"/>
                  </a:lnTo>
                  <a:cubicBezTo>
                    <a:pt x="1252" y="6776"/>
                    <a:pt x="1302" y="6827"/>
                    <a:pt x="1365" y="6827"/>
                  </a:cubicBezTo>
                  <a:cubicBezTo>
                    <a:pt x="1428" y="6827"/>
                    <a:pt x="1479" y="6776"/>
                    <a:pt x="1479" y="6713"/>
                  </a:cubicBezTo>
                  <a:lnTo>
                    <a:pt x="1479" y="6599"/>
                  </a:lnTo>
                  <a:lnTo>
                    <a:pt x="1820" y="6599"/>
                  </a:lnTo>
                  <a:lnTo>
                    <a:pt x="1820" y="6713"/>
                  </a:lnTo>
                  <a:cubicBezTo>
                    <a:pt x="1820" y="6776"/>
                    <a:pt x="1871" y="6827"/>
                    <a:pt x="1934" y="6827"/>
                  </a:cubicBezTo>
                  <a:cubicBezTo>
                    <a:pt x="1997" y="6827"/>
                    <a:pt x="2048" y="6776"/>
                    <a:pt x="2048" y="6713"/>
                  </a:cubicBezTo>
                  <a:lnTo>
                    <a:pt x="2048" y="6599"/>
                  </a:lnTo>
                  <a:lnTo>
                    <a:pt x="2389" y="6599"/>
                  </a:lnTo>
                  <a:lnTo>
                    <a:pt x="2389" y="6713"/>
                  </a:lnTo>
                  <a:cubicBezTo>
                    <a:pt x="2389" y="6776"/>
                    <a:pt x="2440" y="6827"/>
                    <a:pt x="2503" y="6827"/>
                  </a:cubicBezTo>
                  <a:cubicBezTo>
                    <a:pt x="2566" y="6827"/>
                    <a:pt x="2617" y="6776"/>
                    <a:pt x="2617" y="6713"/>
                  </a:cubicBezTo>
                  <a:lnTo>
                    <a:pt x="2617" y="6599"/>
                  </a:lnTo>
                  <a:lnTo>
                    <a:pt x="2958" y="6599"/>
                  </a:lnTo>
                  <a:lnTo>
                    <a:pt x="2958" y="6713"/>
                  </a:lnTo>
                  <a:cubicBezTo>
                    <a:pt x="2958" y="6776"/>
                    <a:pt x="3009" y="6827"/>
                    <a:pt x="3072" y="6827"/>
                  </a:cubicBezTo>
                  <a:cubicBezTo>
                    <a:pt x="3135" y="6827"/>
                    <a:pt x="3186" y="6776"/>
                    <a:pt x="3186" y="6713"/>
                  </a:cubicBezTo>
                  <a:lnTo>
                    <a:pt x="3186" y="6599"/>
                  </a:lnTo>
                  <a:lnTo>
                    <a:pt x="3527" y="6599"/>
                  </a:lnTo>
                  <a:lnTo>
                    <a:pt x="3527" y="6713"/>
                  </a:lnTo>
                  <a:cubicBezTo>
                    <a:pt x="3527" y="6776"/>
                    <a:pt x="3578" y="6827"/>
                    <a:pt x="3641" y="6827"/>
                  </a:cubicBezTo>
                  <a:cubicBezTo>
                    <a:pt x="3704" y="6827"/>
                    <a:pt x="3755" y="6776"/>
                    <a:pt x="3755" y="6713"/>
                  </a:cubicBezTo>
                  <a:lnTo>
                    <a:pt x="3755" y="6599"/>
                  </a:lnTo>
                  <a:lnTo>
                    <a:pt x="4096" y="6599"/>
                  </a:lnTo>
                  <a:lnTo>
                    <a:pt x="4096" y="6713"/>
                  </a:lnTo>
                  <a:cubicBezTo>
                    <a:pt x="4096" y="6776"/>
                    <a:pt x="4147" y="6827"/>
                    <a:pt x="4210" y="6827"/>
                  </a:cubicBezTo>
                  <a:cubicBezTo>
                    <a:pt x="4273" y="6827"/>
                    <a:pt x="4323" y="6776"/>
                    <a:pt x="4323" y="6713"/>
                  </a:cubicBezTo>
                  <a:lnTo>
                    <a:pt x="4323" y="6599"/>
                  </a:lnTo>
                  <a:lnTo>
                    <a:pt x="4665" y="6599"/>
                  </a:lnTo>
                  <a:lnTo>
                    <a:pt x="4665" y="6713"/>
                  </a:lnTo>
                  <a:cubicBezTo>
                    <a:pt x="4665" y="6776"/>
                    <a:pt x="4716" y="6827"/>
                    <a:pt x="4779" y="6827"/>
                  </a:cubicBezTo>
                  <a:cubicBezTo>
                    <a:pt x="4842" y="6827"/>
                    <a:pt x="4892" y="6776"/>
                    <a:pt x="4892" y="6713"/>
                  </a:cubicBezTo>
                  <a:lnTo>
                    <a:pt x="4892" y="6599"/>
                  </a:lnTo>
                  <a:lnTo>
                    <a:pt x="5234" y="6599"/>
                  </a:lnTo>
                  <a:lnTo>
                    <a:pt x="5234" y="6713"/>
                  </a:lnTo>
                  <a:cubicBezTo>
                    <a:pt x="5234" y="6776"/>
                    <a:pt x="5285" y="6827"/>
                    <a:pt x="5347" y="6827"/>
                  </a:cubicBezTo>
                  <a:cubicBezTo>
                    <a:pt x="5410" y="6827"/>
                    <a:pt x="5461" y="6776"/>
                    <a:pt x="5461" y="6713"/>
                  </a:cubicBezTo>
                  <a:lnTo>
                    <a:pt x="5461" y="6599"/>
                  </a:lnTo>
                  <a:lnTo>
                    <a:pt x="5803" y="6599"/>
                  </a:lnTo>
                  <a:lnTo>
                    <a:pt x="5803" y="6713"/>
                  </a:lnTo>
                  <a:cubicBezTo>
                    <a:pt x="5803" y="6776"/>
                    <a:pt x="5853" y="6827"/>
                    <a:pt x="5916" y="6827"/>
                  </a:cubicBezTo>
                  <a:cubicBezTo>
                    <a:pt x="5979" y="6827"/>
                    <a:pt x="6030" y="6776"/>
                    <a:pt x="6030" y="6713"/>
                  </a:cubicBezTo>
                  <a:lnTo>
                    <a:pt x="6030" y="6599"/>
                  </a:lnTo>
                  <a:lnTo>
                    <a:pt x="6371" y="6599"/>
                  </a:lnTo>
                  <a:lnTo>
                    <a:pt x="6371" y="6713"/>
                  </a:lnTo>
                  <a:cubicBezTo>
                    <a:pt x="6371" y="6776"/>
                    <a:pt x="6422" y="6827"/>
                    <a:pt x="6485" y="6827"/>
                  </a:cubicBezTo>
                  <a:cubicBezTo>
                    <a:pt x="6548" y="6827"/>
                    <a:pt x="6599" y="6776"/>
                    <a:pt x="6599" y="6713"/>
                  </a:cubicBezTo>
                  <a:lnTo>
                    <a:pt x="6599" y="6599"/>
                  </a:lnTo>
                  <a:lnTo>
                    <a:pt x="6713" y="6599"/>
                  </a:lnTo>
                  <a:cubicBezTo>
                    <a:pt x="6776" y="6599"/>
                    <a:pt x="6827" y="6548"/>
                    <a:pt x="6827" y="6485"/>
                  </a:cubicBezTo>
                  <a:cubicBezTo>
                    <a:pt x="6827" y="6422"/>
                    <a:pt x="6776" y="6372"/>
                    <a:pt x="6713" y="6372"/>
                  </a:cubicBezTo>
                  <a:lnTo>
                    <a:pt x="6599" y="6372"/>
                  </a:lnTo>
                  <a:lnTo>
                    <a:pt x="6599" y="6258"/>
                  </a:lnTo>
                  <a:cubicBezTo>
                    <a:pt x="6599" y="6195"/>
                    <a:pt x="6548" y="6144"/>
                    <a:pt x="6485" y="6144"/>
                  </a:cubicBezTo>
                  <a:cubicBezTo>
                    <a:pt x="6422" y="6144"/>
                    <a:pt x="6371" y="6195"/>
                    <a:pt x="6371" y="6258"/>
                  </a:cubicBezTo>
                  <a:lnTo>
                    <a:pt x="6371" y="6372"/>
                  </a:lnTo>
                  <a:lnTo>
                    <a:pt x="6030" y="6372"/>
                  </a:lnTo>
                  <a:lnTo>
                    <a:pt x="6030" y="6258"/>
                  </a:lnTo>
                  <a:cubicBezTo>
                    <a:pt x="6030" y="6195"/>
                    <a:pt x="5979" y="6144"/>
                    <a:pt x="5916" y="6144"/>
                  </a:cubicBezTo>
                  <a:cubicBezTo>
                    <a:pt x="5853" y="6144"/>
                    <a:pt x="5803" y="6195"/>
                    <a:pt x="5803" y="6258"/>
                  </a:cubicBezTo>
                  <a:lnTo>
                    <a:pt x="5803" y="6372"/>
                  </a:lnTo>
                  <a:lnTo>
                    <a:pt x="5461" y="6372"/>
                  </a:lnTo>
                  <a:lnTo>
                    <a:pt x="5461" y="6258"/>
                  </a:lnTo>
                  <a:cubicBezTo>
                    <a:pt x="5461" y="6195"/>
                    <a:pt x="5410" y="6144"/>
                    <a:pt x="5347" y="6144"/>
                  </a:cubicBezTo>
                  <a:cubicBezTo>
                    <a:pt x="5285" y="6144"/>
                    <a:pt x="5234" y="6195"/>
                    <a:pt x="5234" y="6258"/>
                  </a:cubicBezTo>
                  <a:lnTo>
                    <a:pt x="5234" y="6372"/>
                  </a:lnTo>
                  <a:lnTo>
                    <a:pt x="4892" y="6372"/>
                  </a:lnTo>
                  <a:lnTo>
                    <a:pt x="4892" y="6258"/>
                  </a:lnTo>
                  <a:cubicBezTo>
                    <a:pt x="4892" y="6195"/>
                    <a:pt x="4842" y="6144"/>
                    <a:pt x="4779" y="6144"/>
                  </a:cubicBezTo>
                  <a:cubicBezTo>
                    <a:pt x="4716" y="6144"/>
                    <a:pt x="4665" y="6195"/>
                    <a:pt x="4665" y="6258"/>
                  </a:cubicBezTo>
                  <a:lnTo>
                    <a:pt x="4665" y="6372"/>
                  </a:lnTo>
                  <a:lnTo>
                    <a:pt x="4323" y="6372"/>
                  </a:lnTo>
                  <a:lnTo>
                    <a:pt x="4323" y="6258"/>
                  </a:lnTo>
                  <a:cubicBezTo>
                    <a:pt x="4323" y="6195"/>
                    <a:pt x="4273" y="6144"/>
                    <a:pt x="4210" y="6144"/>
                  </a:cubicBezTo>
                  <a:cubicBezTo>
                    <a:pt x="4147" y="6144"/>
                    <a:pt x="4096" y="6195"/>
                    <a:pt x="4096" y="6258"/>
                  </a:cubicBezTo>
                  <a:lnTo>
                    <a:pt x="4096" y="6372"/>
                  </a:lnTo>
                  <a:lnTo>
                    <a:pt x="3755" y="6372"/>
                  </a:lnTo>
                  <a:lnTo>
                    <a:pt x="3755" y="6258"/>
                  </a:lnTo>
                  <a:cubicBezTo>
                    <a:pt x="3755" y="6195"/>
                    <a:pt x="3704" y="6144"/>
                    <a:pt x="3641" y="6144"/>
                  </a:cubicBezTo>
                  <a:cubicBezTo>
                    <a:pt x="3578" y="6144"/>
                    <a:pt x="3527" y="6195"/>
                    <a:pt x="3527" y="6258"/>
                  </a:cubicBezTo>
                  <a:lnTo>
                    <a:pt x="3527" y="6372"/>
                  </a:lnTo>
                  <a:lnTo>
                    <a:pt x="3186" y="6372"/>
                  </a:lnTo>
                  <a:lnTo>
                    <a:pt x="3186" y="6258"/>
                  </a:lnTo>
                  <a:cubicBezTo>
                    <a:pt x="3186" y="6195"/>
                    <a:pt x="3135" y="6144"/>
                    <a:pt x="3072" y="6144"/>
                  </a:cubicBezTo>
                  <a:cubicBezTo>
                    <a:pt x="3009" y="6144"/>
                    <a:pt x="2958" y="6195"/>
                    <a:pt x="2958" y="6258"/>
                  </a:cubicBezTo>
                  <a:lnTo>
                    <a:pt x="2958" y="6372"/>
                  </a:lnTo>
                  <a:lnTo>
                    <a:pt x="2617" y="6372"/>
                  </a:lnTo>
                  <a:lnTo>
                    <a:pt x="2617" y="6258"/>
                  </a:lnTo>
                  <a:cubicBezTo>
                    <a:pt x="2617" y="6195"/>
                    <a:pt x="2566" y="6144"/>
                    <a:pt x="2503" y="6144"/>
                  </a:cubicBezTo>
                  <a:cubicBezTo>
                    <a:pt x="2440" y="6144"/>
                    <a:pt x="2389" y="6195"/>
                    <a:pt x="2389" y="6258"/>
                  </a:cubicBezTo>
                  <a:lnTo>
                    <a:pt x="2389" y="6372"/>
                  </a:lnTo>
                  <a:lnTo>
                    <a:pt x="2048" y="6372"/>
                  </a:lnTo>
                  <a:lnTo>
                    <a:pt x="2048" y="6258"/>
                  </a:lnTo>
                  <a:cubicBezTo>
                    <a:pt x="2048" y="6195"/>
                    <a:pt x="1997" y="6144"/>
                    <a:pt x="1934" y="6144"/>
                  </a:cubicBezTo>
                  <a:cubicBezTo>
                    <a:pt x="1871" y="6144"/>
                    <a:pt x="1820" y="6195"/>
                    <a:pt x="1820" y="6258"/>
                  </a:cubicBezTo>
                  <a:lnTo>
                    <a:pt x="1820" y="6372"/>
                  </a:lnTo>
                  <a:lnTo>
                    <a:pt x="1479" y="6372"/>
                  </a:lnTo>
                  <a:lnTo>
                    <a:pt x="1479" y="6258"/>
                  </a:lnTo>
                  <a:cubicBezTo>
                    <a:pt x="1479" y="6195"/>
                    <a:pt x="1428" y="6144"/>
                    <a:pt x="1365" y="6144"/>
                  </a:cubicBezTo>
                  <a:cubicBezTo>
                    <a:pt x="1302" y="6144"/>
                    <a:pt x="1252" y="6195"/>
                    <a:pt x="1252" y="6258"/>
                  </a:cubicBezTo>
                  <a:lnTo>
                    <a:pt x="1252" y="6372"/>
                  </a:lnTo>
                  <a:lnTo>
                    <a:pt x="910" y="6372"/>
                  </a:lnTo>
                  <a:lnTo>
                    <a:pt x="910" y="6258"/>
                  </a:lnTo>
                  <a:cubicBezTo>
                    <a:pt x="910" y="6195"/>
                    <a:pt x="859" y="6144"/>
                    <a:pt x="796" y="6144"/>
                  </a:cubicBezTo>
                  <a:cubicBezTo>
                    <a:pt x="734" y="6144"/>
                    <a:pt x="683" y="6195"/>
                    <a:pt x="683" y="6258"/>
                  </a:cubicBezTo>
                  <a:lnTo>
                    <a:pt x="683" y="6372"/>
                  </a:lnTo>
                  <a:lnTo>
                    <a:pt x="455" y="6372"/>
                  </a:lnTo>
                  <a:lnTo>
                    <a:pt x="455" y="5234"/>
                  </a:lnTo>
                  <a:lnTo>
                    <a:pt x="1263" y="5234"/>
                  </a:lnTo>
                  <a:close/>
                </a:path>
              </a:pathLst>
            </a:custGeom>
            <a:solidFill>
              <a:schemeClr val="bg1"/>
            </a:solidFill>
            <a:ln>
              <a:noFill/>
            </a:ln>
          </p:spPr>
          <p:txBody>
            <a:bodyPr anchor="ctr"/>
            <a:lstStyle/>
            <a:p>
              <a:pPr algn="ctr"/>
            </a:p>
          </p:txBody>
        </p:sp>
        <p:sp>
          <p:nvSpPr>
            <p:cNvPr id="14" name="iṥḻîḍê"/>
            <p:cNvSpPr/>
            <p:nvPr/>
          </p:nvSpPr>
          <p:spPr>
            <a:xfrm rot="16200000">
              <a:off x="4515692" y="3620835"/>
              <a:ext cx="1396065" cy="946505"/>
            </a:xfrm>
            <a:custGeom>
              <a:avLst/>
              <a:gdLst>
                <a:gd name="connsiteX0" fmla="*/ 648072 w 1911772"/>
                <a:gd name="connsiteY0" fmla="*/ 0 h 1296144"/>
                <a:gd name="connsiteX1" fmla="*/ 1296144 w 1911772"/>
                <a:gd name="connsiteY1" fmla="*/ 648072 h 1296144"/>
                <a:gd name="connsiteX2" fmla="*/ 1284833 w 1911772"/>
                <a:gd name="connsiteY2" fmla="*/ 760287 h 1296144"/>
                <a:gd name="connsiteX3" fmla="*/ 1319472 w 1911772"/>
                <a:gd name="connsiteY3" fmla="*/ 746539 h 1296144"/>
                <a:gd name="connsiteX4" fmla="*/ 1696179 w 1911772"/>
                <a:gd name="connsiteY4" fmla="*/ 680256 h 1296144"/>
                <a:gd name="connsiteX5" fmla="*/ 1699441 w 1911772"/>
                <a:gd name="connsiteY5" fmla="*/ 652509 h 1296144"/>
                <a:gd name="connsiteX6" fmla="*/ 1911772 w 1911772"/>
                <a:gd name="connsiteY6" fmla="*/ 716676 h 1296144"/>
                <a:gd name="connsiteX7" fmla="*/ 1686302 w 1911772"/>
                <a:gd name="connsiteY7" fmla="*/ 764303 h 1296144"/>
                <a:gd name="connsiteX8" fmla="*/ 1689560 w 1911772"/>
                <a:gd name="connsiteY8" fmla="*/ 736571 h 1296144"/>
                <a:gd name="connsiteX9" fmla="*/ 1332382 w 1911772"/>
                <a:gd name="connsiteY9" fmla="*/ 801206 h 1296144"/>
                <a:gd name="connsiteX10" fmla="*/ 1187203 w 1911772"/>
                <a:gd name="connsiteY10" fmla="*/ 859235 h 1296144"/>
                <a:gd name="connsiteX11" fmla="*/ 1130798 w 1911772"/>
                <a:gd name="connsiteY11" fmla="*/ 887254 h 1296144"/>
                <a:gd name="connsiteX12" fmla="*/ 1048150 w 1911772"/>
                <a:gd name="connsiteY12" fmla="*/ 933976 h 1296144"/>
                <a:gd name="connsiteX13" fmla="*/ 938465 w 1911772"/>
                <a:gd name="connsiteY13" fmla="*/ 1006157 h 1296144"/>
                <a:gd name="connsiteX14" fmla="*/ 688866 w 1911772"/>
                <a:gd name="connsiteY14" fmla="*/ 1244106 h 1296144"/>
                <a:gd name="connsiteX15" fmla="*/ 650107 w 1911772"/>
                <a:gd name="connsiteY15" fmla="*/ 1295939 h 1296144"/>
                <a:gd name="connsiteX16" fmla="*/ 648072 w 1911772"/>
                <a:gd name="connsiteY16" fmla="*/ 1296144 h 1296144"/>
                <a:gd name="connsiteX17" fmla="*/ 0 w 1911772"/>
                <a:gd name="connsiteY17" fmla="*/ 648072 h 1296144"/>
                <a:gd name="connsiteX18" fmla="*/ 648072 w 1911772"/>
                <a:gd name="connsiteY18" fmla="*/ 0 h 129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1772" h="1296144">
                  <a:moveTo>
                    <a:pt x="648072" y="0"/>
                  </a:moveTo>
                  <a:cubicBezTo>
                    <a:pt x="1005992" y="0"/>
                    <a:pt x="1296144" y="290152"/>
                    <a:pt x="1296144" y="648072"/>
                  </a:cubicBezTo>
                  <a:lnTo>
                    <a:pt x="1284833" y="760287"/>
                  </a:lnTo>
                  <a:lnTo>
                    <a:pt x="1319472" y="746539"/>
                  </a:lnTo>
                  <a:cubicBezTo>
                    <a:pt x="1440896" y="707637"/>
                    <a:pt x="1567590" y="685183"/>
                    <a:pt x="1696179" y="680256"/>
                  </a:cubicBezTo>
                  <a:lnTo>
                    <a:pt x="1699441" y="652509"/>
                  </a:lnTo>
                  <a:lnTo>
                    <a:pt x="1911772" y="716676"/>
                  </a:lnTo>
                  <a:lnTo>
                    <a:pt x="1686302" y="764303"/>
                  </a:lnTo>
                  <a:lnTo>
                    <a:pt x="1689560" y="736571"/>
                  </a:lnTo>
                  <a:cubicBezTo>
                    <a:pt x="1567591" y="742035"/>
                    <a:pt x="1447491" y="763917"/>
                    <a:pt x="1332382" y="801206"/>
                  </a:cubicBezTo>
                  <a:lnTo>
                    <a:pt x="1187203" y="859235"/>
                  </a:lnTo>
                  <a:lnTo>
                    <a:pt x="1130798" y="887254"/>
                  </a:lnTo>
                  <a:lnTo>
                    <a:pt x="1048150" y="933976"/>
                  </a:lnTo>
                  <a:lnTo>
                    <a:pt x="938465" y="1006157"/>
                  </a:lnTo>
                  <a:cubicBezTo>
                    <a:pt x="846060" y="1075263"/>
                    <a:pt x="762232" y="1155208"/>
                    <a:pt x="688866" y="1244106"/>
                  </a:cubicBezTo>
                  <a:lnTo>
                    <a:pt x="650107" y="1295939"/>
                  </a:lnTo>
                  <a:lnTo>
                    <a:pt x="648072" y="1296144"/>
                  </a:lnTo>
                  <a:cubicBezTo>
                    <a:pt x="290152" y="1296144"/>
                    <a:pt x="0" y="1005992"/>
                    <a:pt x="0" y="648072"/>
                  </a:cubicBezTo>
                  <a:cubicBezTo>
                    <a:pt x="0" y="290152"/>
                    <a:pt x="290152" y="0"/>
                    <a:pt x="64807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5" name="îšļídè"/>
            <p:cNvSpPr/>
            <p:nvPr/>
          </p:nvSpPr>
          <p:spPr bwMode="auto">
            <a:xfrm>
              <a:off x="5019949" y="4138700"/>
              <a:ext cx="383655" cy="369530"/>
            </a:xfrm>
            <a:custGeom>
              <a:avLst/>
              <a:gdLst>
                <a:gd name="T0" fmla="*/ 3413 w 6827"/>
                <a:gd name="T1" fmla="*/ 0 h 5912"/>
                <a:gd name="T2" fmla="*/ 0 w 6827"/>
                <a:gd name="T3" fmla="*/ 5912 h 5912"/>
                <a:gd name="T4" fmla="*/ 6827 w 6827"/>
                <a:gd name="T5" fmla="*/ 5912 h 5912"/>
                <a:gd name="T6" fmla="*/ 3413 w 6827"/>
                <a:gd name="T7" fmla="*/ 0 h 5912"/>
                <a:gd name="T8" fmla="*/ 3413 w 6827"/>
                <a:gd name="T9" fmla="*/ 972 h 5912"/>
                <a:gd name="T10" fmla="*/ 4489 w 6827"/>
                <a:gd name="T11" fmla="*/ 2835 h 5912"/>
                <a:gd name="T12" fmla="*/ 2338 w 6827"/>
                <a:gd name="T13" fmla="*/ 2835 h 5912"/>
                <a:gd name="T14" fmla="*/ 3413 w 6827"/>
                <a:gd name="T15" fmla="*/ 972 h 5912"/>
                <a:gd name="T16" fmla="*/ 842 w 6827"/>
                <a:gd name="T17" fmla="*/ 5426 h 5912"/>
                <a:gd name="T18" fmla="*/ 1917 w 6827"/>
                <a:gd name="T19" fmla="*/ 3564 h 5912"/>
                <a:gd name="T20" fmla="*/ 2993 w 6827"/>
                <a:gd name="T21" fmla="*/ 5426 h 5912"/>
                <a:gd name="T22" fmla="*/ 842 w 6827"/>
                <a:gd name="T23" fmla="*/ 5426 h 5912"/>
                <a:gd name="T24" fmla="*/ 2338 w 6827"/>
                <a:gd name="T25" fmla="*/ 3321 h 5912"/>
                <a:gd name="T26" fmla="*/ 4489 w 6827"/>
                <a:gd name="T27" fmla="*/ 3321 h 5912"/>
                <a:gd name="T28" fmla="*/ 3413 w 6827"/>
                <a:gd name="T29" fmla="*/ 5183 h 5912"/>
                <a:gd name="T30" fmla="*/ 2338 w 6827"/>
                <a:gd name="T31" fmla="*/ 3321 h 5912"/>
                <a:gd name="T32" fmla="*/ 4910 w 6827"/>
                <a:gd name="T33" fmla="*/ 3564 h 5912"/>
                <a:gd name="T34" fmla="*/ 5985 w 6827"/>
                <a:gd name="T35" fmla="*/ 5426 h 5912"/>
                <a:gd name="T36" fmla="*/ 3834 w 6827"/>
                <a:gd name="T37" fmla="*/ 5426 h 5912"/>
                <a:gd name="T38" fmla="*/ 4910 w 6827"/>
                <a:gd name="T39" fmla="*/ 3564 h 5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827" h="5912">
                  <a:moveTo>
                    <a:pt x="3413" y="0"/>
                  </a:moveTo>
                  <a:lnTo>
                    <a:pt x="0" y="5912"/>
                  </a:lnTo>
                  <a:lnTo>
                    <a:pt x="6827" y="5912"/>
                  </a:lnTo>
                  <a:lnTo>
                    <a:pt x="3413" y="0"/>
                  </a:lnTo>
                  <a:close/>
                  <a:moveTo>
                    <a:pt x="3413" y="972"/>
                  </a:moveTo>
                  <a:lnTo>
                    <a:pt x="4489" y="2835"/>
                  </a:lnTo>
                  <a:lnTo>
                    <a:pt x="2338" y="2835"/>
                  </a:lnTo>
                  <a:lnTo>
                    <a:pt x="3413" y="972"/>
                  </a:lnTo>
                  <a:close/>
                  <a:moveTo>
                    <a:pt x="842" y="5426"/>
                  </a:moveTo>
                  <a:lnTo>
                    <a:pt x="1917" y="3564"/>
                  </a:lnTo>
                  <a:lnTo>
                    <a:pt x="2993" y="5426"/>
                  </a:lnTo>
                  <a:lnTo>
                    <a:pt x="842" y="5426"/>
                  </a:lnTo>
                  <a:close/>
                  <a:moveTo>
                    <a:pt x="2338" y="3321"/>
                  </a:moveTo>
                  <a:lnTo>
                    <a:pt x="4489" y="3321"/>
                  </a:lnTo>
                  <a:lnTo>
                    <a:pt x="3413" y="5183"/>
                  </a:lnTo>
                  <a:lnTo>
                    <a:pt x="2338" y="3321"/>
                  </a:lnTo>
                  <a:close/>
                  <a:moveTo>
                    <a:pt x="4910" y="3564"/>
                  </a:moveTo>
                  <a:lnTo>
                    <a:pt x="5985" y="5426"/>
                  </a:lnTo>
                  <a:lnTo>
                    <a:pt x="3834" y="5426"/>
                  </a:lnTo>
                  <a:lnTo>
                    <a:pt x="4910" y="3564"/>
                  </a:lnTo>
                  <a:close/>
                </a:path>
              </a:pathLst>
            </a:custGeom>
            <a:solidFill>
              <a:schemeClr val="bg1"/>
            </a:solidFill>
            <a:ln>
              <a:noFill/>
            </a:ln>
          </p:spPr>
          <p:txBody>
            <a:bodyPr anchor="ctr"/>
            <a:lstStyle/>
            <a:p>
              <a:pPr algn="ctr"/>
            </a:p>
          </p:txBody>
        </p:sp>
        <p:sp>
          <p:nvSpPr>
            <p:cNvPr id="16" name="íśliḓé"/>
            <p:cNvSpPr txBox="1"/>
            <p:nvPr/>
          </p:nvSpPr>
          <p:spPr>
            <a:xfrm>
              <a:off x="669926" y="1970917"/>
              <a:ext cx="3837420" cy="999114"/>
            </a:xfrm>
            <a:prstGeom prst="rect">
              <a:avLst/>
            </a:prstGeom>
            <a:noFill/>
          </p:spPr>
          <p:txBody>
            <a:bodyPr wrap="square" lIns="90000" tIns="46800" rIns="90000" bIns="46800" anchor="ctr">
              <a:noAutofit/>
            </a:bodyPr>
            <a:lstStyle>
              <a:defPPr>
                <a:defRPr lang="zh-CN"/>
              </a:defPPr>
              <a:lvl1pPr marL="171450" indent="-171450" algn="r">
                <a:lnSpc>
                  <a:spcPct val="150000"/>
                </a:lnSpc>
                <a:buFont typeface="Arial" panose="020B0604020202020204" pitchFamily="34" charset="0"/>
                <a:buChar char="•"/>
                <a:defRPr sz="1100"/>
              </a:lvl1pPr>
            </a:lstStyle>
            <a:p>
              <a:r>
                <a:rPr lang="zh-CN" altLang="en-US" sz="1400" dirty="0">
                  <a:latin typeface="+mn-ea"/>
                </a:rPr>
                <a:t>贷款额度：</a:t>
              </a:r>
              <a:r>
                <a:rPr lang="en-US" altLang="zh-CN" sz="1400" b="1" dirty="0">
                  <a:solidFill>
                    <a:srgbClr val="C00000"/>
                  </a:solidFill>
                  <a:latin typeface="+mn-ea"/>
                </a:rPr>
                <a:t>3000</a:t>
              </a:r>
              <a:r>
                <a:rPr lang="zh-CN" altLang="en-US" sz="1400" b="1" dirty="0">
                  <a:solidFill>
                    <a:srgbClr val="C00000"/>
                  </a:solidFill>
                  <a:latin typeface="+mn-ea"/>
                </a:rPr>
                <a:t>万元</a:t>
              </a:r>
              <a:endParaRPr lang="en-US" altLang="zh-CN" sz="1400" b="1" dirty="0">
                <a:solidFill>
                  <a:srgbClr val="C00000"/>
                </a:solidFill>
                <a:latin typeface="+mn-ea"/>
              </a:endParaRPr>
            </a:p>
            <a:p>
              <a:r>
                <a:rPr lang="zh-CN" altLang="en-US" sz="1400" dirty="0">
                  <a:latin typeface="+mn-ea"/>
                </a:rPr>
                <a:t>贷款期限：</a:t>
              </a:r>
              <a:r>
                <a:rPr lang="en-US" altLang="zh-CN" sz="1400" b="1" dirty="0">
                  <a:solidFill>
                    <a:srgbClr val="C00000"/>
                  </a:solidFill>
                  <a:latin typeface="+mn-ea"/>
                </a:rPr>
                <a:t>3</a:t>
              </a:r>
              <a:r>
                <a:rPr lang="zh-CN" altLang="en-US" sz="1400" b="1" dirty="0">
                  <a:solidFill>
                    <a:srgbClr val="C00000"/>
                  </a:solidFill>
                  <a:latin typeface="+mn-ea"/>
                </a:rPr>
                <a:t>年</a:t>
              </a:r>
              <a:endParaRPr lang="en-US" altLang="zh-CN" sz="1400" b="1" dirty="0">
                <a:solidFill>
                  <a:srgbClr val="C00000"/>
                </a:solidFill>
                <a:latin typeface="+mn-ea"/>
              </a:endParaRPr>
            </a:p>
            <a:p>
              <a:r>
                <a:rPr lang="zh-CN" altLang="en-US" sz="1400" dirty="0">
                  <a:latin typeface="+mn-ea"/>
                </a:rPr>
                <a:t>贷款利率：</a:t>
              </a:r>
              <a:r>
                <a:rPr lang="zh-CN" altLang="en-US" sz="1400" b="1" dirty="0">
                  <a:solidFill>
                    <a:srgbClr val="C00000"/>
                  </a:solidFill>
                  <a:latin typeface="+mn-ea"/>
                </a:rPr>
                <a:t>不超过基准利率的</a:t>
              </a:r>
              <a:r>
                <a:rPr lang="en-US" altLang="zh-CN" sz="1400" b="1" dirty="0">
                  <a:solidFill>
                    <a:srgbClr val="C00000"/>
                  </a:solidFill>
                  <a:latin typeface="+mn-ea"/>
                </a:rPr>
                <a:t>1.3</a:t>
              </a:r>
              <a:r>
                <a:rPr lang="zh-CN" altLang="en-US" sz="1400" b="1" dirty="0">
                  <a:solidFill>
                    <a:srgbClr val="C00000"/>
                  </a:solidFill>
                  <a:latin typeface="+mn-ea"/>
                </a:rPr>
                <a:t>倍</a:t>
              </a:r>
              <a:endParaRPr lang="zh-CN" altLang="en-US" sz="1400" b="1" dirty="0">
                <a:solidFill>
                  <a:srgbClr val="C00000"/>
                </a:solidFill>
                <a:latin typeface="+mn-ea"/>
              </a:endParaRPr>
            </a:p>
          </p:txBody>
        </p:sp>
        <p:sp>
          <p:nvSpPr>
            <p:cNvPr id="17" name="îśḷíḍé"/>
            <p:cNvSpPr txBox="1"/>
            <p:nvPr/>
          </p:nvSpPr>
          <p:spPr>
            <a:xfrm>
              <a:off x="436418" y="4609594"/>
              <a:ext cx="4070928" cy="827710"/>
            </a:xfrm>
            <a:prstGeom prst="rect">
              <a:avLst/>
            </a:prstGeom>
            <a:noFill/>
          </p:spPr>
          <p:txBody>
            <a:bodyPr wrap="square" lIns="90000" tIns="46800" rIns="90000" bIns="46800" anchor="ctr">
              <a:noAutofit/>
            </a:bodyPr>
            <a:lstStyle/>
            <a:p>
              <a:pPr marL="171450" indent="-171450" algn="r">
                <a:lnSpc>
                  <a:spcPct val="150000"/>
                </a:lnSpc>
                <a:buFont typeface="Arial" panose="020B0604020202020204" pitchFamily="34" charset="0"/>
                <a:buChar char="•"/>
              </a:pPr>
              <a:r>
                <a:rPr lang="zh-CN" altLang="en-US" sz="1400" dirty="0">
                  <a:latin typeface="+mn-ea"/>
                </a:rPr>
                <a:t>每笔技改贷项目可获政府</a:t>
              </a:r>
              <a:r>
                <a:rPr lang="en-US" altLang="zh-CN" sz="1400" b="1" dirty="0">
                  <a:solidFill>
                    <a:srgbClr val="C00000"/>
                  </a:solidFill>
                  <a:latin typeface="+mn-ea"/>
                </a:rPr>
                <a:t>50%</a:t>
              </a:r>
              <a:r>
                <a:rPr lang="zh-CN" altLang="en-US" sz="1400" dirty="0">
                  <a:latin typeface="+mn-ea"/>
                </a:rPr>
                <a:t>贷款</a:t>
              </a:r>
              <a:r>
                <a:rPr lang="zh-CN" altLang="en-US" sz="1400" dirty="0" smtClean="0">
                  <a:latin typeface="+mn-ea"/>
                </a:rPr>
                <a:t>风险补偿</a:t>
              </a:r>
              <a:endParaRPr lang="en-US" altLang="zh-CN" sz="1400" dirty="0" smtClean="0">
                <a:latin typeface="+mn-ea"/>
              </a:endParaRPr>
            </a:p>
            <a:p>
              <a:pPr marL="171450" indent="-171450" algn="r">
                <a:lnSpc>
                  <a:spcPct val="150000"/>
                </a:lnSpc>
                <a:buFont typeface="Arial" panose="020B0604020202020204" pitchFamily="34" charset="0"/>
                <a:buChar char="•"/>
              </a:pPr>
              <a:r>
                <a:rPr lang="zh-CN" altLang="en-US" sz="1400" dirty="0" smtClean="0">
                  <a:latin typeface="+mn-ea"/>
                </a:rPr>
                <a:t>单个</a:t>
              </a:r>
              <a:r>
                <a:rPr lang="zh-CN" altLang="en-US" sz="1400" dirty="0">
                  <a:latin typeface="+mn-ea"/>
                </a:rPr>
                <a:t>企业年度最高</a:t>
              </a:r>
              <a:r>
                <a:rPr lang="en-US" altLang="zh-CN" sz="1400" b="1" dirty="0">
                  <a:solidFill>
                    <a:srgbClr val="C00000"/>
                  </a:solidFill>
                  <a:latin typeface="+mn-ea"/>
                </a:rPr>
                <a:t>500</a:t>
              </a:r>
              <a:r>
                <a:rPr lang="zh-CN" altLang="en-US" sz="1400" b="1" dirty="0">
                  <a:solidFill>
                    <a:srgbClr val="C00000"/>
                  </a:solidFill>
                  <a:latin typeface="+mn-ea"/>
                </a:rPr>
                <a:t>万元</a:t>
              </a:r>
              <a:endParaRPr lang="zh-CN" altLang="en-US" sz="1400" b="1" dirty="0">
                <a:solidFill>
                  <a:srgbClr val="C00000"/>
                </a:solidFill>
                <a:latin typeface="+mn-ea"/>
              </a:endParaRPr>
            </a:p>
          </p:txBody>
        </p:sp>
        <p:sp>
          <p:nvSpPr>
            <p:cNvPr id="18" name="isľïďe"/>
            <p:cNvSpPr/>
            <p:nvPr/>
          </p:nvSpPr>
          <p:spPr>
            <a:xfrm>
              <a:off x="669926" y="1507095"/>
              <a:ext cx="3837420" cy="387624"/>
            </a:xfrm>
            <a:prstGeom prst="rect">
              <a:avLst/>
            </a:prstGeom>
          </p:spPr>
          <p:txBody>
            <a:bodyPr wrap="none" lIns="90000" tIns="46800" rIns="90000" bIns="46800" anchor="ctr">
              <a:normAutofit/>
            </a:bodyPr>
            <a:lstStyle/>
            <a:p>
              <a:pPr lvl="0" algn="r" defTabSz="914400">
                <a:spcBef>
                  <a:spcPct val="0"/>
                </a:spcBef>
                <a:defRPr/>
              </a:pPr>
              <a:r>
                <a:rPr lang="zh-CN" altLang="en-US" b="1" dirty="0"/>
                <a:t>额度、期限及利率</a:t>
              </a:r>
              <a:endParaRPr lang="zh-CN" altLang="en-US" b="1" dirty="0"/>
            </a:p>
          </p:txBody>
        </p:sp>
        <p:sp>
          <p:nvSpPr>
            <p:cNvPr id="19" name="iś1ïďé"/>
            <p:cNvSpPr/>
            <p:nvPr/>
          </p:nvSpPr>
          <p:spPr>
            <a:xfrm>
              <a:off x="669926" y="4156238"/>
              <a:ext cx="3837420" cy="387624"/>
            </a:xfrm>
            <a:prstGeom prst="rect">
              <a:avLst/>
            </a:prstGeom>
          </p:spPr>
          <p:txBody>
            <a:bodyPr wrap="none" lIns="90000" tIns="46800" rIns="90000" bIns="46800" anchor="ctr">
              <a:normAutofit/>
            </a:bodyPr>
            <a:lstStyle/>
            <a:p>
              <a:pPr algn="r"/>
              <a:r>
                <a:rPr lang="zh-CN" altLang="en-US" b="1" dirty="0">
                  <a:latin typeface="微软雅黑" panose="020B0503020204020204" pitchFamily="34" charset="-122"/>
                  <a:ea typeface="微软雅黑" panose="020B0503020204020204" pitchFamily="34" charset="-122"/>
                </a:rPr>
                <a:t>风险补偿</a:t>
              </a:r>
              <a:endParaRPr lang="zh-CN" altLang="en-US" b="1" dirty="0">
                <a:latin typeface="微软雅黑" panose="020B0503020204020204" pitchFamily="34" charset="-122"/>
                <a:ea typeface="微软雅黑" panose="020B0503020204020204" pitchFamily="34" charset="-122"/>
              </a:endParaRPr>
            </a:p>
          </p:txBody>
        </p:sp>
        <p:grpSp>
          <p:nvGrpSpPr>
            <p:cNvPr id="20" name="îṧḻíḋê"/>
            <p:cNvGrpSpPr/>
            <p:nvPr/>
          </p:nvGrpSpPr>
          <p:grpSpPr>
            <a:xfrm>
              <a:off x="7782048" y="1507095"/>
              <a:ext cx="3738440" cy="1462927"/>
              <a:chOff x="8360493" y="1507095"/>
              <a:chExt cx="3524400" cy="1462927"/>
            </a:xfrm>
          </p:grpSpPr>
          <p:sp>
            <p:nvSpPr>
              <p:cNvPr id="26" name="îşľíde"/>
              <p:cNvSpPr txBox="1"/>
              <p:nvPr/>
            </p:nvSpPr>
            <p:spPr>
              <a:xfrm>
                <a:off x="8360493" y="1970917"/>
                <a:ext cx="3524400" cy="999105"/>
              </a:xfrm>
              <a:prstGeom prst="rect">
                <a:avLst/>
              </a:prstGeom>
              <a:noFill/>
            </p:spPr>
            <p:txBody>
              <a:bodyPr wrap="square" lIns="90000" tIns="46800" rIns="90000" bIns="46800" anchor="ctr">
                <a:normAutofit lnSpcReduction="10000"/>
              </a:bodyPr>
              <a:lstStyle/>
              <a:p>
                <a:pPr marL="171450" indent="-171450">
                  <a:lnSpc>
                    <a:spcPct val="150000"/>
                  </a:lnSpc>
                  <a:buFont typeface="Arial" panose="020B0604020202020204" pitchFamily="34" charset="0"/>
                  <a:buChar char="•"/>
                </a:pPr>
                <a:r>
                  <a:rPr lang="zh-CN" altLang="en-US" sz="1400" dirty="0">
                    <a:latin typeface="+mn-ea"/>
                  </a:rPr>
                  <a:t>正常生产流动资金</a:t>
                </a:r>
                <a:endParaRPr lang="zh-CN" altLang="en-US" sz="1400" dirty="0">
                  <a:latin typeface="+mn-ea"/>
                </a:endParaRPr>
              </a:p>
              <a:p>
                <a:pPr marL="171450" indent="-171450">
                  <a:lnSpc>
                    <a:spcPct val="150000"/>
                  </a:lnSpc>
                  <a:buFont typeface="Arial" panose="020B0604020202020204" pitchFamily="34" charset="0"/>
                  <a:buChar char="•"/>
                </a:pPr>
                <a:r>
                  <a:rPr lang="zh-CN" altLang="en-US" sz="1400" dirty="0">
                    <a:latin typeface="+mn-ea"/>
                  </a:rPr>
                  <a:t>新建或扩建工程项目</a:t>
                </a:r>
                <a:endParaRPr lang="zh-CN" altLang="en-US" sz="1400" dirty="0">
                  <a:latin typeface="+mn-ea"/>
                </a:endParaRPr>
              </a:p>
              <a:p>
                <a:pPr marL="171450" indent="-171450">
                  <a:lnSpc>
                    <a:spcPct val="150000"/>
                  </a:lnSpc>
                  <a:buFont typeface="Arial" panose="020B0604020202020204" pitchFamily="34" charset="0"/>
                  <a:buChar char="•"/>
                </a:pPr>
                <a:r>
                  <a:rPr lang="zh-CN" altLang="en-US" sz="1400" dirty="0">
                    <a:latin typeface="+mn-ea"/>
                  </a:rPr>
                  <a:t>产品研发、技术改造资金</a:t>
                </a:r>
                <a:endParaRPr lang="en-US" altLang="zh-CN" sz="1400" dirty="0">
                  <a:latin typeface="+mn-ea"/>
                </a:endParaRPr>
              </a:p>
            </p:txBody>
          </p:sp>
          <p:sp>
            <p:nvSpPr>
              <p:cNvPr id="27" name="iṡ1îḍe"/>
              <p:cNvSpPr/>
              <p:nvPr/>
            </p:nvSpPr>
            <p:spPr>
              <a:xfrm>
                <a:off x="8360493" y="1507095"/>
                <a:ext cx="3524400" cy="387624"/>
              </a:xfrm>
              <a:prstGeom prst="rect">
                <a:avLst/>
              </a:prstGeom>
            </p:spPr>
            <p:txBody>
              <a:bodyPr wrap="none" lIns="90000" tIns="46800" rIns="90000" bIns="46800" anchor="ctr">
                <a:normAutofit/>
              </a:bodyPr>
              <a:lstStyle/>
              <a:p>
                <a:r>
                  <a:rPr lang="zh-CN" altLang="en-US" b="1" dirty="0">
                    <a:latin typeface="微软雅黑" panose="020B0503020204020204" pitchFamily="34" charset="-122"/>
                    <a:ea typeface="微软雅黑" panose="020B0503020204020204" pitchFamily="34" charset="-122"/>
                  </a:rPr>
                  <a:t>贷款用途</a:t>
                </a:r>
                <a:endParaRPr lang="zh-CN" altLang="en-US" b="1" dirty="0">
                  <a:latin typeface="微软雅黑" panose="020B0503020204020204" pitchFamily="34" charset="-122"/>
                  <a:ea typeface="微软雅黑" panose="020B0503020204020204" pitchFamily="34" charset="-122"/>
                </a:endParaRPr>
              </a:p>
            </p:txBody>
          </p:sp>
        </p:grpSp>
        <p:grpSp>
          <p:nvGrpSpPr>
            <p:cNvPr id="21" name="iṩľîḍê"/>
            <p:cNvGrpSpPr/>
            <p:nvPr/>
          </p:nvGrpSpPr>
          <p:grpSpPr>
            <a:xfrm>
              <a:off x="7782048" y="4156238"/>
              <a:ext cx="3738440" cy="1407146"/>
              <a:chOff x="8355885" y="4156238"/>
              <a:chExt cx="3524400" cy="1407146"/>
            </a:xfrm>
          </p:grpSpPr>
          <p:sp>
            <p:nvSpPr>
              <p:cNvPr id="24" name="ïṧḷîďe"/>
              <p:cNvSpPr txBox="1"/>
              <p:nvPr/>
            </p:nvSpPr>
            <p:spPr>
              <a:xfrm>
                <a:off x="8355885" y="4609594"/>
                <a:ext cx="3524400" cy="953790"/>
              </a:xfrm>
              <a:prstGeom prst="rect">
                <a:avLst/>
              </a:prstGeom>
              <a:noFill/>
            </p:spPr>
            <p:txBody>
              <a:bodyPr wrap="square" lIns="90000" tIns="46800" rIns="90000" bIns="46800" anchor="ctr">
                <a:noAutofit/>
              </a:bodyPr>
              <a:lstStyle/>
              <a:p>
                <a:pPr marL="171450" indent="-171450">
                  <a:lnSpc>
                    <a:spcPct val="150000"/>
                  </a:lnSpc>
                  <a:buFont typeface="Arial" panose="020B0604020202020204" pitchFamily="34" charset="0"/>
                  <a:buChar char="•"/>
                </a:pPr>
                <a:r>
                  <a:rPr lang="zh-CN" altLang="en-US" sz="1400" dirty="0"/>
                  <a:t>银政共同分担风险</a:t>
                </a:r>
                <a:endParaRPr lang="zh-CN" altLang="en-US" sz="1400" dirty="0"/>
              </a:p>
              <a:p>
                <a:pPr marL="171450" indent="-171450">
                  <a:lnSpc>
                    <a:spcPct val="150000"/>
                  </a:lnSpc>
                  <a:buFont typeface="Arial" panose="020B0604020202020204" pitchFamily="34" charset="0"/>
                  <a:buChar char="•"/>
                </a:pPr>
                <a:r>
                  <a:rPr lang="zh-CN" altLang="en-US" sz="1400" dirty="0"/>
                  <a:t>政府财政支持</a:t>
                </a:r>
                <a:endParaRPr lang="zh-CN" altLang="en-US" sz="1400" dirty="0"/>
              </a:p>
              <a:p>
                <a:pPr marL="171450" indent="-171450">
                  <a:lnSpc>
                    <a:spcPct val="150000"/>
                  </a:lnSpc>
                  <a:buFont typeface="Arial" panose="020B0604020202020204" pitchFamily="34" charset="0"/>
                  <a:buChar char="•"/>
                </a:pPr>
                <a:r>
                  <a:rPr lang="zh-CN" altLang="en-US" sz="1400" dirty="0"/>
                  <a:t>降低融资成本</a:t>
                </a:r>
                <a:endParaRPr lang="zh-CN" altLang="en-US" sz="1400" dirty="0"/>
              </a:p>
            </p:txBody>
          </p:sp>
          <p:sp>
            <p:nvSpPr>
              <p:cNvPr id="25" name="îŝ1iḑè"/>
              <p:cNvSpPr/>
              <p:nvPr/>
            </p:nvSpPr>
            <p:spPr>
              <a:xfrm>
                <a:off x="8355885" y="4156238"/>
                <a:ext cx="3524400" cy="387624"/>
              </a:xfrm>
              <a:prstGeom prst="rect">
                <a:avLst/>
              </a:prstGeom>
            </p:spPr>
            <p:txBody>
              <a:bodyPr wrap="none" lIns="90000" tIns="46800" rIns="90000" bIns="46800" anchor="ctr">
                <a:normAutofit/>
              </a:bodyPr>
              <a:lstStyle/>
              <a:p>
                <a:pPr lvl="0" defTabSz="914400">
                  <a:spcBef>
                    <a:spcPct val="0"/>
                  </a:spcBef>
                  <a:defRPr/>
                </a:pPr>
                <a:r>
                  <a:rPr lang="zh-CN" altLang="en-US" b="1" dirty="0"/>
                  <a:t>产品特色</a:t>
                </a:r>
                <a:endParaRPr lang="zh-CN" altLang="en-US" b="1" dirty="0"/>
              </a:p>
            </p:txBody>
          </p:sp>
        </p:grpSp>
        <p:cxnSp>
          <p:nvCxnSpPr>
            <p:cNvPr id="22" name="直接连接符 21"/>
            <p:cNvCxnSpPr/>
            <p:nvPr/>
          </p:nvCxnSpPr>
          <p:spPr>
            <a:xfrm>
              <a:off x="669926" y="3510354"/>
              <a:ext cx="3767650"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7852060" y="3510354"/>
              <a:ext cx="3668428"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Tree>
    <p:custDataLst>
      <p:tags r:id="rId2"/>
    </p:custData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三、（</a:t>
            </a:r>
            <a:r>
              <a:rPr lang="en-US" altLang="zh-CN" dirty="0"/>
              <a:t>3</a:t>
            </a:r>
            <a:r>
              <a:rPr lang="zh-CN" altLang="en-US" dirty="0"/>
              <a:t>）</a:t>
            </a:r>
            <a:r>
              <a:rPr lang="zh-CN" altLang="en-US" dirty="0"/>
              <a:t>转贷引导融资平台业务</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27188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 y="1130299"/>
            <a:ext cx="11520489" cy="5235865"/>
            <a:chOff x="-1" y="1130299"/>
            <a:chExt cx="11520489" cy="5235865"/>
          </a:xfrm>
        </p:grpSpPr>
        <p:grpSp>
          <p:nvGrpSpPr>
            <p:cNvPr id="6" name="ïŝḻïḍé"/>
            <p:cNvGrpSpPr/>
            <p:nvPr/>
          </p:nvGrpSpPr>
          <p:grpSpPr>
            <a:xfrm>
              <a:off x="2013010" y="1163782"/>
              <a:ext cx="1512000" cy="1669471"/>
              <a:chOff x="3542463" y="677140"/>
              <a:chExt cx="1512000" cy="1669471"/>
            </a:xfrm>
          </p:grpSpPr>
          <p:sp>
            <p:nvSpPr>
              <p:cNvPr id="25" name="ïṧ1íďê"/>
              <p:cNvSpPr/>
              <p:nvPr/>
            </p:nvSpPr>
            <p:spPr>
              <a:xfrm rot="16200000">
                <a:off x="3463727" y="755876"/>
                <a:ext cx="1669471" cy="1512000"/>
              </a:xfrm>
              <a:prstGeom prst="hexagon">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a:p>
            </p:txBody>
          </p:sp>
          <p:sp>
            <p:nvSpPr>
              <p:cNvPr id="26" name="iṣliḍe"/>
              <p:cNvSpPr/>
              <p:nvPr/>
            </p:nvSpPr>
            <p:spPr bwMode="auto">
              <a:xfrm>
                <a:off x="3997975" y="1144142"/>
                <a:ext cx="663138" cy="608542"/>
              </a:xfrm>
              <a:custGeom>
                <a:avLst/>
                <a:gdLst>
                  <a:gd name="connsiteX0" fmla="*/ 350851 w 599171"/>
                  <a:gd name="connsiteY0" fmla="*/ 405257 h 549846"/>
                  <a:gd name="connsiteX1" fmla="*/ 394672 w 599171"/>
                  <a:gd name="connsiteY1" fmla="*/ 405257 h 549846"/>
                  <a:gd name="connsiteX2" fmla="*/ 394672 w 599171"/>
                  <a:gd name="connsiteY2" fmla="*/ 528464 h 549846"/>
                  <a:gd name="connsiteX3" fmla="*/ 350851 w 599171"/>
                  <a:gd name="connsiteY3" fmla="*/ 528464 h 549846"/>
                  <a:gd name="connsiteX4" fmla="*/ 418947 w 599171"/>
                  <a:gd name="connsiteY4" fmla="*/ 362989 h 549846"/>
                  <a:gd name="connsiteX5" fmla="*/ 462839 w 599171"/>
                  <a:gd name="connsiteY5" fmla="*/ 362989 h 549846"/>
                  <a:gd name="connsiteX6" fmla="*/ 462839 w 599171"/>
                  <a:gd name="connsiteY6" fmla="*/ 528465 h 549846"/>
                  <a:gd name="connsiteX7" fmla="*/ 418947 w 599171"/>
                  <a:gd name="connsiteY7" fmla="*/ 528465 h 549846"/>
                  <a:gd name="connsiteX8" fmla="*/ 487113 w 599171"/>
                  <a:gd name="connsiteY8" fmla="*/ 320932 h 549846"/>
                  <a:gd name="connsiteX9" fmla="*/ 531005 w 599171"/>
                  <a:gd name="connsiteY9" fmla="*/ 320932 h 549846"/>
                  <a:gd name="connsiteX10" fmla="*/ 531005 w 599171"/>
                  <a:gd name="connsiteY10" fmla="*/ 528465 h 549846"/>
                  <a:gd name="connsiteX11" fmla="*/ 487113 w 599171"/>
                  <a:gd name="connsiteY11" fmla="*/ 528465 h 549846"/>
                  <a:gd name="connsiteX12" fmla="*/ 555279 w 599171"/>
                  <a:gd name="connsiteY12" fmla="*/ 278945 h 549846"/>
                  <a:gd name="connsiteX13" fmla="*/ 599171 w 599171"/>
                  <a:gd name="connsiteY13" fmla="*/ 278945 h 549846"/>
                  <a:gd name="connsiteX14" fmla="*/ 599171 w 599171"/>
                  <a:gd name="connsiteY14" fmla="*/ 528464 h 549846"/>
                  <a:gd name="connsiteX15" fmla="*/ 555279 w 599171"/>
                  <a:gd name="connsiteY15" fmla="*/ 528464 h 549846"/>
                  <a:gd name="connsiteX16" fmla="*/ 257092 w 599171"/>
                  <a:gd name="connsiteY16" fmla="*/ 0 h 549846"/>
                  <a:gd name="connsiteX17" fmla="*/ 399061 w 599171"/>
                  <a:gd name="connsiteY17" fmla="*/ 142037 h 549846"/>
                  <a:gd name="connsiteX18" fmla="*/ 320591 w 599171"/>
                  <a:gd name="connsiteY18" fmla="*/ 290261 h 549846"/>
                  <a:gd name="connsiteX19" fmla="*/ 424874 w 599171"/>
                  <a:gd name="connsiteY19" fmla="*/ 341559 h 549846"/>
                  <a:gd name="connsiteX20" fmla="*/ 397512 w 599171"/>
                  <a:gd name="connsiteY20" fmla="*/ 341559 h 549846"/>
                  <a:gd name="connsiteX21" fmla="*/ 397512 w 599171"/>
                  <a:gd name="connsiteY21" fmla="*/ 383578 h 549846"/>
                  <a:gd name="connsiteX22" fmla="*/ 329367 w 599171"/>
                  <a:gd name="connsiteY22" fmla="*/ 383578 h 549846"/>
                  <a:gd name="connsiteX23" fmla="*/ 329367 w 599171"/>
                  <a:gd name="connsiteY23" fmla="*/ 547526 h 549846"/>
                  <a:gd name="connsiteX24" fmla="*/ 257092 w 599171"/>
                  <a:gd name="connsiteY24" fmla="*/ 549846 h 549846"/>
                  <a:gd name="connsiteX25" fmla="*/ 329109 w 599171"/>
                  <a:gd name="connsiteY25" fmla="*/ 477925 h 549846"/>
                  <a:gd name="connsiteX26" fmla="*/ 268450 w 599171"/>
                  <a:gd name="connsiteY26" fmla="*/ 331506 h 549846"/>
                  <a:gd name="connsiteX27" fmla="*/ 269224 w 599171"/>
                  <a:gd name="connsiteY27" fmla="*/ 331506 h 549846"/>
                  <a:gd name="connsiteX28" fmla="*/ 292714 w 599171"/>
                  <a:gd name="connsiteY28" fmla="*/ 304439 h 549846"/>
                  <a:gd name="connsiteX29" fmla="*/ 257092 w 599171"/>
                  <a:gd name="connsiteY29" fmla="*/ 311141 h 549846"/>
                  <a:gd name="connsiteX30" fmla="*/ 221471 w 599171"/>
                  <a:gd name="connsiteY30" fmla="*/ 304439 h 549846"/>
                  <a:gd name="connsiteX31" fmla="*/ 245219 w 599171"/>
                  <a:gd name="connsiteY31" fmla="*/ 331506 h 549846"/>
                  <a:gd name="connsiteX32" fmla="*/ 245735 w 599171"/>
                  <a:gd name="connsiteY32" fmla="*/ 331506 h 549846"/>
                  <a:gd name="connsiteX33" fmla="*/ 185075 w 599171"/>
                  <a:gd name="connsiteY33" fmla="*/ 477925 h 549846"/>
                  <a:gd name="connsiteX34" fmla="*/ 257092 w 599171"/>
                  <a:gd name="connsiteY34" fmla="*/ 549846 h 549846"/>
                  <a:gd name="connsiteX35" fmla="*/ 0 w 599171"/>
                  <a:gd name="connsiteY35" fmla="*/ 486432 h 549846"/>
                  <a:gd name="connsiteX36" fmla="*/ 193594 w 599171"/>
                  <a:gd name="connsiteY36" fmla="*/ 290261 h 549846"/>
                  <a:gd name="connsiteX37" fmla="*/ 115124 w 599171"/>
                  <a:gd name="connsiteY37" fmla="*/ 142037 h 549846"/>
                  <a:gd name="connsiteX38" fmla="*/ 257092 w 599171"/>
                  <a:gd name="connsiteY38" fmla="*/ 0 h 54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99171" h="549846">
                    <a:moveTo>
                      <a:pt x="350851" y="405257"/>
                    </a:moveTo>
                    <a:lnTo>
                      <a:pt x="394672" y="405257"/>
                    </a:lnTo>
                    <a:lnTo>
                      <a:pt x="394672" y="528464"/>
                    </a:lnTo>
                    <a:lnTo>
                      <a:pt x="350851" y="528464"/>
                    </a:lnTo>
                    <a:close/>
                    <a:moveTo>
                      <a:pt x="418947" y="362989"/>
                    </a:moveTo>
                    <a:lnTo>
                      <a:pt x="462839" y="362989"/>
                    </a:lnTo>
                    <a:lnTo>
                      <a:pt x="462839" y="528465"/>
                    </a:lnTo>
                    <a:lnTo>
                      <a:pt x="418947" y="528465"/>
                    </a:lnTo>
                    <a:close/>
                    <a:moveTo>
                      <a:pt x="487113" y="320932"/>
                    </a:moveTo>
                    <a:lnTo>
                      <a:pt x="531005" y="320932"/>
                    </a:lnTo>
                    <a:lnTo>
                      <a:pt x="531005" y="528465"/>
                    </a:lnTo>
                    <a:lnTo>
                      <a:pt x="487113" y="528465"/>
                    </a:lnTo>
                    <a:close/>
                    <a:moveTo>
                      <a:pt x="555279" y="278945"/>
                    </a:moveTo>
                    <a:lnTo>
                      <a:pt x="599171" y="278945"/>
                    </a:lnTo>
                    <a:lnTo>
                      <a:pt x="599171" y="528464"/>
                    </a:lnTo>
                    <a:lnTo>
                      <a:pt x="555279" y="528464"/>
                    </a:lnTo>
                    <a:close/>
                    <a:moveTo>
                      <a:pt x="257092" y="0"/>
                    </a:moveTo>
                    <a:cubicBezTo>
                      <a:pt x="335562" y="0"/>
                      <a:pt x="399061" y="63672"/>
                      <a:pt x="399061" y="142037"/>
                    </a:cubicBezTo>
                    <a:cubicBezTo>
                      <a:pt x="399061" y="197460"/>
                      <a:pt x="367054" y="259069"/>
                      <a:pt x="320591" y="290261"/>
                    </a:cubicBezTo>
                    <a:cubicBezTo>
                      <a:pt x="359826" y="300314"/>
                      <a:pt x="395447" y="318875"/>
                      <a:pt x="424874" y="341559"/>
                    </a:cubicBezTo>
                    <a:lnTo>
                      <a:pt x="397512" y="341559"/>
                    </a:lnTo>
                    <a:lnTo>
                      <a:pt x="397512" y="383578"/>
                    </a:lnTo>
                    <a:lnTo>
                      <a:pt x="329367" y="383578"/>
                    </a:lnTo>
                    <a:lnTo>
                      <a:pt x="329367" y="547526"/>
                    </a:lnTo>
                    <a:cubicBezTo>
                      <a:pt x="305878" y="549073"/>
                      <a:pt x="281614" y="549846"/>
                      <a:pt x="257092" y="549846"/>
                    </a:cubicBezTo>
                    <a:lnTo>
                      <a:pt x="329109" y="477925"/>
                    </a:lnTo>
                    <a:lnTo>
                      <a:pt x="268450" y="331506"/>
                    </a:lnTo>
                    <a:lnTo>
                      <a:pt x="269224" y="331506"/>
                    </a:lnTo>
                    <a:lnTo>
                      <a:pt x="292714" y="304439"/>
                    </a:lnTo>
                    <a:cubicBezTo>
                      <a:pt x="281356" y="308563"/>
                      <a:pt x="269482" y="311141"/>
                      <a:pt x="257092" y="311141"/>
                    </a:cubicBezTo>
                    <a:cubicBezTo>
                      <a:pt x="244961" y="311141"/>
                      <a:pt x="233087" y="308563"/>
                      <a:pt x="221471" y="304439"/>
                    </a:cubicBezTo>
                    <a:lnTo>
                      <a:pt x="245219" y="331506"/>
                    </a:lnTo>
                    <a:lnTo>
                      <a:pt x="245735" y="331506"/>
                    </a:lnTo>
                    <a:lnTo>
                      <a:pt x="185075" y="477925"/>
                    </a:lnTo>
                    <a:lnTo>
                      <a:pt x="257092" y="549846"/>
                    </a:lnTo>
                    <a:cubicBezTo>
                      <a:pt x="128546" y="549846"/>
                      <a:pt x="0" y="528708"/>
                      <a:pt x="0" y="486432"/>
                    </a:cubicBezTo>
                    <a:cubicBezTo>
                      <a:pt x="0" y="415027"/>
                      <a:pt x="82342" y="318617"/>
                      <a:pt x="193594" y="290261"/>
                    </a:cubicBezTo>
                    <a:cubicBezTo>
                      <a:pt x="147131" y="259069"/>
                      <a:pt x="115124" y="197460"/>
                      <a:pt x="115124" y="142037"/>
                    </a:cubicBezTo>
                    <a:cubicBezTo>
                      <a:pt x="115124" y="63672"/>
                      <a:pt x="178622" y="0"/>
                      <a:pt x="257092" y="0"/>
                    </a:cubicBezTo>
                    <a:close/>
                  </a:path>
                </a:pathLst>
              </a:custGeom>
              <a:solidFill>
                <a:schemeClr val="bg1"/>
              </a:solidFill>
              <a:ln w="0">
                <a:noFill/>
                <a:prstDash val="solid"/>
                <a:round/>
              </a:ln>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solidFill>
                    <a:schemeClr val="bg1"/>
                  </a:solidFill>
                </a:endParaRPr>
              </a:p>
            </p:txBody>
          </p:sp>
        </p:grpSp>
        <p:sp>
          <p:nvSpPr>
            <p:cNvPr id="7" name="ïṧlîďé"/>
            <p:cNvSpPr txBox="1"/>
            <p:nvPr/>
          </p:nvSpPr>
          <p:spPr>
            <a:xfrm>
              <a:off x="3898901" y="1130299"/>
              <a:ext cx="7371772" cy="1142419"/>
            </a:xfrm>
            <a:prstGeom prst="rect">
              <a:avLst/>
            </a:prstGeom>
            <a:noFill/>
            <a:ln>
              <a:noFill/>
            </a:ln>
          </p:spPr>
          <p:txBody>
            <a:bodyPr wrap="square" lIns="91440" tIns="45720" rIns="91440" bIns="45720" anchor="b" anchorCtr="0">
              <a:normAutofit/>
            </a:bodyPr>
            <a:lstStyle/>
            <a:p>
              <a:pPr>
                <a:lnSpc>
                  <a:spcPct val="120000"/>
                </a:lnSpc>
              </a:pPr>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rPr>
                <a:t>对符合银行信贷条件，贷款即将到期而足额还贷出现暂时困难的中小微企业，为其按期还贷、续贷提供短期资金，较大幅度降低资金成本，有效解决企业借新还旧问题。</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8" name="íS1iḋe"/>
            <p:cNvSpPr txBox="1"/>
            <p:nvPr/>
          </p:nvSpPr>
          <p:spPr>
            <a:xfrm>
              <a:off x="3898901" y="2302042"/>
              <a:ext cx="6644409" cy="600366"/>
            </a:xfrm>
            <a:prstGeom prst="rect">
              <a:avLst/>
            </a:prstGeom>
            <a:noFill/>
            <a:ln>
              <a:noFill/>
            </a:ln>
          </p:spPr>
          <p:txBody>
            <a:bodyPr wrap="square" lIns="91440" tIns="45720" rIns="91440" bIns="45720" anchor="ctr" anchorCtr="0">
              <a:normAutofit/>
            </a:bodyPr>
            <a:lstStyle/>
            <a:p>
              <a:pPr marL="381000" indent="-381000">
                <a:buFont typeface="Wingdings" panose="05000000000000000000" pitchFamily="2" charset="2"/>
                <a:buChar char="ü"/>
              </a:pPr>
              <a:r>
                <a:rPr lang="zh-CN" altLang="en-US" sz="1600" dirty="0">
                  <a:solidFill>
                    <a:srgbClr val="C00000"/>
                  </a:solidFill>
                  <a:latin typeface="微软雅黑" panose="020B0503020204020204" pitchFamily="34" charset="-122"/>
                  <a:ea typeface="微软雅黑" panose="020B0503020204020204" pitchFamily="34" charset="-122"/>
                </a:rPr>
                <a:t>重点支持我市从事实体经济运营的中小微企业</a:t>
              </a:r>
              <a:endParaRPr lang="en-US" altLang="zh-CN" sz="1600" dirty="0">
                <a:solidFill>
                  <a:srgbClr val="C00000"/>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3990975" y="2995127"/>
              <a:ext cx="7527924" cy="0"/>
            </a:xfrm>
            <a:prstGeom prst="line">
              <a:avLst/>
            </a:prstGeom>
            <a:ln w="285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10" name="iṩļíḑe"/>
            <p:cNvGrpSpPr/>
            <p:nvPr/>
          </p:nvGrpSpPr>
          <p:grpSpPr>
            <a:xfrm>
              <a:off x="3990975" y="3324635"/>
              <a:ext cx="3408978" cy="3041529"/>
              <a:chOff x="6354147" y="3324635"/>
              <a:chExt cx="3408978" cy="3041529"/>
            </a:xfrm>
          </p:grpSpPr>
          <p:sp>
            <p:nvSpPr>
              <p:cNvPr id="19" name="iṧ1idé"/>
              <p:cNvSpPr/>
              <p:nvPr/>
            </p:nvSpPr>
            <p:spPr bwMode="auto">
              <a:xfrm>
                <a:off x="6944753" y="3766440"/>
                <a:ext cx="2622784"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400" dirty="0">
                    <a:solidFill>
                      <a:schemeClr val="tx1">
                        <a:lumMod val="75000"/>
                        <a:lumOff val="25000"/>
                      </a:schemeClr>
                    </a:solidFill>
                    <a:latin typeface="+mn-ea"/>
                  </a:rPr>
                  <a:t>由财政和华金普惠公司</a:t>
                </a:r>
                <a:r>
                  <a:rPr lang="zh-CN" altLang="en-US" sz="1400" b="1" dirty="0">
                    <a:solidFill>
                      <a:srgbClr val="C00000"/>
                    </a:solidFill>
                    <a:latin typeface="+mn-ea"/>
                  </a:rPr>
                  <a:t>各出资</a:t>
                </a:r>
                <a:r>
                  <a:rPr lang="en-US" altLang="zh-CN" sz="1400" b="1" dirty="0">
                    <a:solidFill>
                      <a:srgbClr val="C00000"/>
                    </a:solidFill>
                    <a:latin typeface="+mn-ea"/>
                  </a:rPr>
                  <a:t>3000</a:t>
                </a:r>
                <a:r>
                  <a:rPr lang="zh-CN" altLang="en-US" sz="1400" b="1" dirty="0">
                    <a:solidFill>
                      <a:srgbClr val="C00000"/>
                    </a:solidFill>
                    <a:latin typeface="+mn-ea"/>
                  </a:rPr>
                  <a:t>万元</a:t>
                </a:r>
                <a:r>
                  <a:rPr lang="zh-CN" altLang="en-US" sz="1400" dirty="0">
                    <a:solidFill>
                      <a:schemeClr val="tx1">
                        <a:lumMod val="75000"/>
                        <a:lumOff val="25000"/>
                      </a:schemeClr>
                    </a:solidFill>
                    <a:latin typeface="+mn-ea"/>
                  </a:rPr>
                  <a:t>设立首期“转贷引导资金池”</a:t>
                </a:r>
                <a:endParaRPr lang="en-US" altLang="zh-CN" sz="1400" dirty="0">
                  <a:solidFill>
                    <a:schemeClr val="tx1">
                      <a:lumMod val="75000"/>
                      <a:lumOff val="25000"/>
                    </a:schemeClr>
                  </a:solidFill>
                  <a:latin typeface="+mn-ea"/>
                </a:endParaRPr>
              </a:p>
            </p:txBody>
          </p:sp>
          <p:sp>
            <p:nvSpPr>
              <p:cNvPr id="20" name="íšḷiḑê"/>
              <p:cNvSpPr txBox="1"/>
              <p:nvPr/>
            </p:nvSpPr>
            <p:spPr bwMode="auto">
              <a:xfrm>
                <a:off x="6944752" y="3324635"/>
                <a:ext cx="2818373"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9200">
                  <a:spcBef>
                    <a:spcPct val="0"/>
                  </a:spcBef>
                  <a:defRPr/>
                </a:pPr>
                <a:r>
                  <a:rPr lang="zh-CN" altLang="en-US" b="1" dirty="0">
                    <a:solidFill>
                      <a:schemeClr val="dk1">
                        <a:lumMod val="100000"/>
                      </a:schemeClr>
                    </a:solidFill>
                  </a:rPr>
                  <a:t>资金规模</a:t>
                </a:r>
                <a:endParaRPr lang="zh-CN" altLang="en-US" b="1" dirty="0">
                  <a:solidFill>
                    <a:schemeClr val="dk1">
                      <a:lumMod val="100000"/>
                    </a:schemeClr>
                  </a:solidFill>
                </a:endParaRPr>
              </a:p>
            </p:txBody>
          </p:sp>
          <p:sp>
            <p:nvSpPr>
              <p:cNvPr id="21" name="î$ḷíḓê"/>
              <p:cNvSpPr/>
              <p:nvPr/>
            </p:nvSpPr>
            <p:spPr bwMode="auto">
              <a:xfrm>
                <a:off x="6354147" y="3557629"/>
                <a:ext cx="397846" cy="398217"/>
              </a:xfrm>
              <a:custGeom>
                <a:avLst/>
                <a:gdLst>
                  <a:gd name="connsiteX0" fmla="*/ 451337 w 606157"/>
                  <a:gd name="connsiteY0" fmla="*/ 147905 h 606722"/>
                  <a:gd name="connsiteX1" fmla="*/ 569477 w 606157"/>
                  <a:gd name="connsiteY1" fmla="*/ 147905 h 606722"/>
                  <a:gd name="connsiteX2" fmla="*/ 606157 w 606157"/>
                  <a:gd name="connsiteY2" fmla="*/ 186562 h 606722"/>
                  <a:gd name="connsiteX3" fmla="*/ 606157 w 606157"/>
                  <a:gd name="connsiteY3" fmla="*/ 363939 h 606722"/>
                  <a:gd name="connsiteX4" fmla="*/ 584434 w 606157"/>
                  <a:gd name="connsiteY4" fmla="*/ 385711 h 606722"/>
                  <a:gd name="connsiteX5" fmla="*/ 557904 w 606157"/>
                  <a:gd name="connsiteY5" fmla="*/ 385711 h 606722"/>
                  <a:gd name="connsiteX6" fmla="*/ 549980 w 606157"/>
                  <a:gd name="connsiteY6" fmla="*/ 548781 h 606722"/>
                  <a:gd name="connsiteX7" fmla="*/ 489085 w 606157"/>
                  <a:gd name="connsiteY7" fmla="*/ 606722 h 606722"/>
                  <a:gd name="connsiteX8" fmla="*/ 426854 w 606157"/>
                  <a:gd name="connsiteY8" fmla="*/ 547537 h 606722"/>
                  <a:gd name="connsiteX9" fmla="*/ 420711 w 606157"/>
                  <a:gd name="connsiteY9" fmla="*/ 420814 h 606722"/>
                  <a:gd name="connsiteX10" fmla="*/ 461219 w 606157"/>
                  <a:gd name="connsiteY10" fmla="*/ 363228 h 606722"/>
                  <a:gd name="connsiteX11" fmla="*/ 461219 w 606157"/>
                  <a:gd name="connsiteY11" fmla="*/ 185762 h 606722"/>
                  <a:gd name="connsiteX12" fmla="*/ 451337 w 606157"/>
                  <a:gd name="connsiteY12" fmla="*/ 147905 h 606722"/>
                  <a:gd name="connsiteX13" fmla="*/ 38457 w 606157"/>
                  <a:gd name="connsiteY13" fmla="*/ 147552 h 606722"/>
                  <a:gd name="connsiteX14" fmla="*/ 155074 w 606157"/>
                  <a:gd name="connsiteY14" fmla="*/ 147552 h 606722"/>
                  <a:gd name="connsiteX15" fmla="*/ 145014 w 606157"/>
                  <a:gd name="connsiteY15" fmla="*/ 185766 h 606722"/>
                  <a:gd name="connsiteX16" fmla="*/ 145014 w 606157"/>
                  <a:gd name="connsiteY16" fmla="*/ 363239 h 606722"/>
                  <a:gd name="connsiteX17" fmla="*/ 187210 w 606157"/>
                  <a:gd name="connsiteY17" fmla="*/ 421360 h 606722"/>
                  <a:gd name="connsiteX18" fmla="*/ 181068 w 606157"/>
                  <a:gd name="connsiteY18" fmla="*/ 548444 h 606722"/>
                  <a:gd name="connsiteX19" fmla="*/ 120178 w 606157"/>
                  <a:gd name="connsiteY19" fmla="*/ 606298 h 606722"/>
                  <a:gd name="connsiteX20" fmla="*/ 57952 w 606157"/>
                  <a:gd name="connsiteY20" fmla="*/ 547200 h 606722"/>
                  <a:gd name="connsiteX21" fmla="*/ 50029 w 606157"/>
                  <a:gd name="connsiteY21" fmla="*/ 385279 h 606722"/>
                  <a:gd name="connsiteX22" fmla="*/ 21810 w 606157"/>
                  <a:gd name="connsiteY22" fmla="*/ 385279 h 606722"/>
                  <a:gd name="connsiteX23" fmla="*/ 0 w 606157"/>
                  <a:gd name="connsiteY23" fmla="*/ 363595 h 606722"/>
                  <a:gd name="connsiteX24" fmla="*/ 0 w 606157"/>
                  <a:gd name="connsiteY24" fmla="*/ 186122 h 606722"/>
                  <a:gd name="connsiteX25" fmla="*/ 38457 w 606157"/>
                  <a:gd name="connsiteY25" fmla="*/ 147552 h 606722"/>
                  <a:gd name="connsiteX26" fmla="*/ 222975 w 606157"/>
                  <a:gd name="connsiteY26" fmla="*/ 147058 h 606722"/>
                  <a:gd name="connsiteX27" fmla="*/ 282512 w 606157"/>
                  <a:gd name="connsiteY27" fmla="*/ 147058 h 606722"/>
                  <a:gd name="connsiteX28" fmla="*/ 270498 w 606157"/>
                  <a:gd name="connsiteY28" fmla="*/ 159057 h 606722"/>
                  <a:gd name="connsiteX29" fmla="*/ 270498 w 606157"/>
                  <a:gd name="connsiteY29" fmla="*/ 169278 h 606722"/>
                  <a:gd name="connsiteX30" fmla="*/ 283224 w 606157"/>
                  <a:gd name="connsiteY30" fmla="*/ 181988 h 606722"/>
                  <a:gd name="connsiteX31" fmla="*/ 273345 w 606157"/>
                  <a:gd name="connsiteY31" fmla="*/ 292199 h 606722"/>
                  <a:gd name="connsiteX32" fmla="*/ 276193 w 606157"/>
                  <a:gd name="connsiteY32" fmla="*/ 302953 h 606722"/>
                  <a:gd name="connsiteX33" fmla="*/ 297196 w 606157"/>
                  <a:gd name="connsiteY33" fmla="*/ 332550 h 606722"/>
                  <a:gd name="connsiteX34" fmla="*/ 303070 w 606157"/>
                  <a:gd name="connsiteY34" fmla="*/ 335572 h 606722"/>
                  <a:gd name="connsiteX35" fmla="*/ 309032 w 606157"/>
                  <a:gd name="connsiteY35" fmla="*/ 332550 h 606722"/>
                  <a:gd name="connsiteX36" fmla="*/ 329946 w 606157"/>
                  <a:gd name="connsiteY36" fmla="*/ 302953 h 606722"/>
                  <a:gd name="connsiteX37" fmla="*/ 332883 w 606157"/>
                  <a:gd name="connsiteY37" fmla="*/ 292199 h 606722"/>
                  <a:gd name="connsiteX38" fmla="*/ 323004 w 606157"/>
                  <a:gd name="connsiteY38" fmla="*/ 181988 h 606722"/>
                  <a:gd name="connsiteX39" fmla="*/ 335641 w 606157"/>
                  <a:gd name="connsiteY39" fmla="*/ 169278 h 606722"/>
                  <a:gd name="connsiteX40" fmla="*/ 335641 w 606157"/>
                  <a:gd name="connsiteY40" fmla="*/ 159057 h 606722"/>
                  <a:gd name="connsiteX41" fmla="*/ 323627 w 606157"/>
                  <a:gd name="connsiteY41" fmla="*/ 147058 h 606722"/>
                  <a:gd name="connsiteX42" fmla="*/ 385033 w 606157"/>
                  <a:gd name="connsiteY42" fmla="*/ 147058 h 606722"/>
                  <a:gd name="connsiteX43" fmla="*/ 385033 w 606157"/>
                  <a:gd name="connsiteY43" fmla="*/ 147147 h 606722"/>
                  <a:gd name="connsiteX44" fmla="*/ 421699 w 606157"/>
                  <a:gd name="connsiteY44" fmla="*/ 185721 h 606722"/>
                  <a:gd name="connsiteX45" fmla="*/ 421699 w 606157"/>
                  <a:gd name="connsiteY45" fmla="*/ 363214 h 606722"/>
                  <a:gd name="connsiteX46" fmla="*/ 399895 w 606157"/>
                  <a:gd name="connsiteY46" fmla="*/ 384901 h 606722"/>
                  <a:gd name="connsiteX47" fmla="*/ 373375 w 606157"/>
                  <a:gd name="connsiteY47" fmla="*/ 384901 h 606722"/>
                  <a:gd name="connsiteX48" fmla="*/ 371506 w 606157"/>
                  <a:gd name="connsiteY48" fmla="*/ 424363 h 606722"/>
                  <a:gd name="connsiteX49" fmla="*/ 365455 w 606157"/>
                  <a:gd name="connsiteY49" fmla="*/ 548084 h 606722"/>
                  <a:gd name="connsiteX50" fmla="*/ 304582 w 606157"/>
                  <a:gd name="connsiteY50" fmla="*/ 605945 h 606722"/>
                  <a:gd name="connsiteX51" fmla="*/ 242464 w 606157"/>
                  <a:gd name="connsiteY51" fmla="*/ 546840 h 606722"/>
                  <a:gd name="connsiteX52" fmla="*/ 236502 w 606157"/>
                  <a:gd name="connsiteY52" fmla="*/ 424363 h 606722"/>
                  <a:gd name="connsiteX53" fmla="*/ 234544 w 606157"/>
                  <a:gd name="connsiteY53" fmla="*/ 384901 h 606722"/>
                  <a:gd name="connsiteX54" fmla="*/ 206244 w 606157"/>
                  <a:gd name="connsiteY54" fmla="*/ 384901 h 606722"/>
                  <a:gd name="connsiteX55" fmla="*/ 184529 w 606157"/>
                  <a:gd name="connsiteY55" fmla="*/ 363214 h 606722"/>
                  <a:gd name="connsiteX56" fmla="*/ 184529 w 606157"/>
                  <a:gd name="connsiteY56" fmla="*/ 185721 h 606722"/>
                  <a:gd name="connsiteX57" fmla="*/ 222975 w 606157"/>
                  <a:gd name="connsiteY57" fmla="*/ 147058 h 606722"/>
                  <a:gd name="connsiteX58" fmla="*/ 488454 w 606157"/>
                  <a:gd name="connsiteY58" fmla="*/ 706 h 606722"/>
                  <a:gd name="connsiteX59" fmla="*/ 550481 w 606157"/>
                  <a:gd name="connsiteY59" fmla="*/ 62663 h 606722"/>
                  <a:gd name="connsiteX60" fmla="*/ 488454 w 606157"/>
                  <a:gd name="connsiteY60" fmla="*/ 124620 h 606722"/>
                  <a:gd name="connsiteX61" fmla="*/ 426427 w 606157"/>
                  <a:gd name="connsiteY61" fmla="*/ 62663 h 606722"/>
                  <a:gd name="connsiteX62" fmla="*/ 488454 w 606157"/>
                  <a:gd name="connsiteY62" fmla="*/ 706 h 606722"/>
                  <a:gd name="connsiteX63" fmla="*/ 119538 w 606157"/>
                  <a:gd name="connsiteY63" fmla="*/ 353 h 606722"/>
                  <a:gd name="connsiteX64" fmla="*/ 181565 w 606157"/>
                  <a:gd name="connsiteY64" fmla="*/ 62310 h 606722"/>
                  <a:gd name="connsiteX65" fmla="*/ 119538 w 606157"/>
                  <a:gd name="connsiteY65" fmla="*/ 124267 h 606722"/>
                  <a:gd name="connsiteX66" fmla="*/ 57511 w 606157"/>
                  <a:gd name="connsiteY66" fmla="*/ 62310 h 606722"/>
                  <a:gd name="connsiteX67" fmla="*/ 119538 w 606157"/>
                  <a:gd name="connsiteY67" fmla="*/ 353 h 606722"/>
                  <a:gd name="connsiteX68" fmla="*/ 303961 w 606157"/>
                  <a:gd name="connsiteY68" fmla="*/ 0 h 606722"/>
                  <a:gd name="connsiteX69" fmla="*/ 366024 w 606157"/>
                  <a:gd name="connsiteY69" fmla="*/ 61957 h 606722"/>
                  <a:gd name="connsiteX70" fmla="*/ 303961 w 606157"/>
                  <a:gd name="connsiteY70" fmla="*/ 123914 h 606722"/>
                  <a:gd name="connsiteX71" fmla="*/ 241898 w 606157"/>
                  <a:gd name="connsiteY71" fmla="*/ 61957 h 606722"/>
                  <a:gd name="connsiteX72" fmla="*/ 303961 w 606157"/>
                  <a:gd name="connsiteY72"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06157" h="606722">
                    <a:moveTo>
                      <a:pt x="451337" y="147905"/>
                    </a:moveTo>
                    <a:lnTo>
                      <a:pt x="569477" y="147905"/>
                    </a:lnTo>
                    <a:cubicBezTo>
                      <a:pt x="589954" y="148971"/>
                      <a:pt x="606157" y="165856"/>
                      <a:pt x="606157" y="186562"/>
                    </a:cubicBezTo>
                    <a:lnTo>
                      <a:pt x="606157" y="363939"/>
                    </a:lnTo>
                    <a:cubicBezTo>
                      <a:pt x="606157" y="375936"/>
                      <a:pt x="596453" y="385711"/>
                      <a:pt x="584434" y="385711"/>
                    </a:cubicBezTo>
                    <a:lnTo>
                      <a:pt x="557904" y="385711"/>
                    </a:lnTo>
                    <a:lnTo>
                      <a:pt x="549980" y="548781"/>
                    </a:lnTo>
                    <a:cubicBezTo>
                      <a:pt x="548378" y="581217"/>
                      <a:pt x="521580" y="606722"/>
                      <a:pt x="489085" y="606722"/>
                    </a:cubicBezTo>
                    <a:cubicBezTo>
                      <a:pt x="455877" y="606722"/>
                      <a:pt x="428456" y="580684"/>
                      <a:pt x="426854" y="547537"/>
                    </a:cubicBezTo>
                    <a:lnTo>
                      <a:pt x="420711" y="420814"/>
                    </a:lnTo>
                    <a:cubicBezTo>
                      <a:pt x="444482" y="412194"/>
                      <a:pt x="461219" y="389355"/>
                      <a:pt x="461219" y="363228"/>
                    </a:cubicBezTo>
                    <a:lnTo>
                      <a:pt x="461219" y="185762"/>
                    </a:lnTo>
                    <a:cubicBezTo>
                      <a:pt x="461219" y="172077"/>
                      <a:pt x="457658" y="159102"/>
                      <a:pt x="451337" y="147905"/>
                    </a:cubicBezTo>
                    <a:close/>
                    <a:moveTo>
                      <a:pt x="38457" y="147552"/>
                    </a:moveTo>
                    <a:lnTo>
                      <a:pt x="155074" y="147552"/>
                    </a:lnTo>
                    <a:cubicBezTo>
                      <a:pt x="148664" y="158839"/>
                      <a:pt x="145014" y="171902"/>
                      <a:pt x="145014" y="185766"/>
                    </a:cubicBezTo>
                    <a:lnTo>
                      <a:pt x="145014" y="363239"/>
                    </a:lnTo>
                    <a:cubicBezTo>
                      <a:pt x="145014" y="389811"/>
                      <a:pt x="162284" y="413184"/>
                      <a:pt x="187210" y="421360"/>
                    </a:cubicBezTo>
                    <a:lnTo>
                      <a:pt x="181068" y="548444"/>
                    </a:lnTo>
                    <a:cubicBezTo>
                      <a:pt x="179465" y="580881"/>
                      <a:pt x="152670" y="606298"/>
                      <a:pt x="120178" y="606298"/>
                    </a:cubicBezTo>
                    <a:cubicBezTo>
                      <a:pt x="86973" y="606298"/>
                      <a:pt x="59555" y="580348"/>
                      <a:pt x="57952" y="547200"/>
                    </a:cubicBezTo>
                    <a:lnTo>
                      <a:pt x="50029" y="385279"/>
                    </a:lnTo>
                    <a:lnTo>
                      <a:pt x="21810" y="385279"/>
                    </a:lnTo>
                    <a:cubicBezTo>
                      <a:pt x="9792" y="385279"/>
                      <a:pt x="0" y="375592"/>
                      <a:pt x="0" y="363595"/>
                    </a:cubicBezTo>
                    <a:lnTo>
                      <a:pt x="0" y="186122"/>
                    </a:lnTo>
                    <a:cubicBezTo>
                      <a:pt x="0" y="164882"/>
                      <a:pt x="17181" y="147641"/>
                      <a:pt x="38457" y="147552"/>
                    </a:cubicBezTo>
                    <a:close/>
                    <a:moveTo>
                      <a:pt x="222975" y="147058"/>
                    </a:moveTo>
                    <a:lnTo>
                      <a:pt x="282512" y="147058"/>
                    </a:lnTo>
                    <a:lnTo>
                      <a:pt x="270498" y="159057"/>
                    </a:lnTo>
                    <a:cubicBezTo>
                      <a:pt x="267739" y="161901"/>
                      <a:pt x="267739" y="166523"/>
                      <a:pt x="270498" y="169278"/>
                    </a:cubicBezTo>
                    <a:lnTo>
                      <a:pt x="283224" y="181988"/>
                    </a:lnTo>
                    <a:lnTo>
                      <a:pt x="273345" y="292199"/>
                    </a:lnTo>
                    <a:cubicBezTo>
                      <a:pt x="272989" y="296021"/>
                      <a:pt x="274057" y="299754"/>
                      <a:pt x="276193" y="302953"/>
                    </a:cubicBezTo>
                    <a:lnTo>
                      <a:pt x="297196" y="332550"/>
                    </a:lnTo>
                    <a:cubicBezTo>
                      <a:pt x="298531" y="334417"/>
                      <a:pt x="300756" y="335572"/>
                      <a:pt x="303070" y="335572"/>
                    </a:cubicBezTo>
                    <a:cubicBezTo>
                      <a:pt x="305472" y="335572"/>
                      <a:pt x="307608" y="334417"/>
                      <a:pt x="309032" y="332550"/>
                    </a:cubicBezTo>
                    <a:lnTo>
                      <a:pt x="329946" y="302953"/>
                    </a:lnTo>
                    <a:cubicBezTo>
                      <a:pt x="332171" y="299754"/>
                      <a:pt x="333239" y="296021"/>
                      <a:pt x="332883" y="292199"/>
                    </a:cubicBezTo>
                    <a:lnTo>
                      <a:pt x="323004" y="181988"/>
                    </a:lnTo>
                    <a:lnTo>
                      <a:pt x="335641" y="169278"/>
                    </a:lnTo>
                    <a:cubicBezTo>
                      <a:pt x="338489" y="166523"/>
                      <a:pt x="338489" y="161901"/>
                      <a:pt x="335641" y="159057"/>
                    </a:cubicBezTo>
                    <a:lnTo>
                      <a:pt x="323627" y="147058"/>
                    </a:lnTo>
                    <a:lnTo>
                      <a:pt x="385033" y="147058"/>
                    </a:lnTo>
                    <a:lnTo>
                      <a:pt x="385033" y="147147"/>
                    </a:lnTo>
                    <a:cubicBezTo>
                      <a:pt x="405413" y="148214"/>
                      <a:pt x="421699" y="165101"/>
                      <a:pt x="421699" y="185721"/>
                    </a:cubicBezTo>
                    <a:lnTo>
                      <a:pt x="421699" y="363214"/>
                    </a:lnTo>
                    <a:cubicBezTo>
                      <a:pt x="421699" y="375213"/>
                      <a:pt x="411910" y="384901"/>
                      <a:pt x="399895" y="384901"/>
                    </a:cubicBezTo>
                    <a:lnTo>
                      <a:pt x="373375" y="384901"/>
                    </a:lnTo>
                    <a:lnTo>
                      <a:pt x="371506" y="424363"/>
                    </a:lnTo>
                    <a:lnTo>
                      <a:pt x="365455" y="548084"/>
                    </a:lnTo>
                    <a:cubicBezTo>
                      <a:pt x="363853" y="580525"/>
                      <a:pt x="337154" y="605945"/>
                      <a:pt x="304582" y="605945"/>
                    </a:cubicBezTo>
                    <a:cubicBezTo>
                      <a:pt x="271388" y="605945"/>
                      <a:pt x="244066" y="579903"/>
                      <a:pt x="242464" y="546840"/>
                    </a:cubicBezTo>
                    <a:lnTo>
                      <a:pt x="236502" y="424363"/>
                    </a:lnTo>
                    <a:lnTo>
                      <a:pt x="234544" y="384901"/>
                    </a:lnTo>
                    <a:lnTo>
                      <a:pt x="206244" y="384901"/>
                    </a:lnTo>
                    <a:cubicBezTo>
                      <a:pt x="194229" y="384901"/>
                      <a:pt x="184529" y="375213"/>
                      <a:pt x="184529" y="363214"/>
                    </a:cubicBezTo>
                    <a:lnTo>
                      <a:pt x="184529" y="185721"/>
                    </a:lnTo>
                    <a:cubicBezTo>
                      <a:pt x="184529" y="164479"/>
                      <a:pt x="201705" y="147236"/>
                      <a:pt x="222975" y="147058"/>
                    </a:cubicBezTo>
                    <a:close/>
                    <a:moveTo>
                      <a:pt x="488454" y="706"/>
                    </a:moveTo>
                    <a:cubicBezTo>
                      <a:pt x="522711" y="706"/>
                      <a:pt x="550481" y="28445"/>
                      <a:pt x="550481" y="62663"/>
                    </a:cubicBezTo>
                    <a:cubicBezTo>
                      <a:pt x="550481" y="96881"/>
                      <a:pt x="522711" y="124620"/>
                      <a:pt x="488454" y="124620"/>
                    </a:cubicBezTo>
                    <a:cubicBezTo>
                      <a:pt x="454197" y="124620"/>
                      <a:pt x="426427" y="96881"/>
                      <a:pt x="426427" y="62663"/>
                    </a:cubicBezTo>
                    <a:cubicBezTo>
                      <a:pt x="426427" y="28445"/>
                      <a:pt x="454197" y="706"/>
                      <a:pt x="488454" y="706"/>
                    </a:cubicBezTo>
                    <a:close/>
                    <a:moveTo>
                      <a:pt x="119538" y="353"/>
                    </a:moveTo>
                    <a:cubicBezTo>
                      <a:pt x="153795" y="353"/>
                      <a:pt x="181565" y="28092"/>
                      <a:pt x="181565" y="62310"/>
                    </a:cubicBezTo>
                    <a:cubicBezTo>
                      <a:pt x="181565" y="96528"/>
                      <a:pt x="153795" y="124267"/>
                      <a:pt x="119538" y="124267"/>
                    </a:cubicBezTo>
                    <a:cubicBezTo>
                      <a:pt x="85281" y="124267"/>
                      <a:pt x="57511" y="96528"/>
                      <a:pt x="57511" y="62310"/>
                    </a:cubicBezTo>
                    <a:cubicBezTo>
                      <a:pt x="57511" y="28092"/>
                      <a:pt x="85281" y="353"/>
                      <a:pt x="119538" y="353"/>
                    </a:cubicBezTo>
                    <a:close/>
                    <a:moveTo>
                      <a:pt x="303961" y="0"/>
                    </a:moveTo>
                    <a:cubicBezTo>
                      <a:pt x="338237" y="0"/>
                      <a:pt x="366024" y="27739"/>
                      <a:pt x="366024" y="61957"/>
                    </a:cubicBezTo>
                    <a:cubicBezTo>
                      <a:pt x="366024" y="96175"/>
                      <a:pt x="338237" y="123914"/>
                      <a:pt x="303961" y="123914"/>
                    </a:cubicBezTo>
                    <a:cubicBezTo>
                      <a:pt x="269685" y="123914"/>
                      <a:pt x="241898" y="96175"/>
                      <a:pt x="241898" y="61957"/>
                    </a:cubicBezTo>
                    <a:cubicBezTo>
                      <a:pt x="241898" y="27739"/>
                      <a:pt x="269685" y="0"/>
                      <a:pt x="303961" y="0"/>
                    </a:cubicBezTo>
                    <a:close/>
                  </a:path>
                </a:pathLst>
              </a:custGeom>
              <a:solidFill>
                <a:schemeClr val="tx1">
                  <a:lumMod val="50000"/>
                  <a:lumOff val="50000"/>
                </a:schemeClr>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22" name="ï$ļïḓê"/>
              <p:cNvSpPr/>
              <p:nvPr/>
            </p:nvSpPr>
            <p:spPr bwMode="auto">
              <a:xfrm>
                <a:off x="6944752" y="5421068"/>
                <a:ext cx="2818373" cy="94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defTabSz="914400">
                  <a:lnSpc>
                    <a:spcPct val="130000"/>
                  </a:lnSpc>
                  <a:spcBef>
                    <a:spcPct val="0"/>
                  </a:spcBef>
                  <a:buFont typeface="Arial" panose="020B0604020202020204" pitchFamily="34" charset="0"/>
                  <a:buChar char="•"/>
                </a:pPr>
                <a:r>
                  <a:rPr lang="zh-CN" altLang="en-US" sz="1400" dirty="0">
                    <a:latin typeface="+mn-ea"/>
                  </a:rPr>
                  <a:t>按贷款金额的</a:t>
                </a:r>
                <a:r>
                  <a:rPr lang="en-US" altLang="zh-CN" sz="1400" b="1" dirty="0">
                    <a:solidFill>
                      <a:srgbClr val="C00000"/>
                    </a:solidFill>
                    <a:latin typeface="+mn-ea"/>
                  </a:rPr>
                  <a:t>0.5‰/</a:t>
                </a:r>
                <a:r>
                  <a:rPr lang="zh-CN" altLang="en-US" sz="1400" b="1" dirty="0">
                    <a:solidFill>
                      <a:srgbClr val="C00000"/>
                    </a:solidFill>
                    <a:latin typeface="+mn-ea"/>
                  </a:rPr>
                  <a:t>天</a:t>
                </a:r>
                <a:r>
                  <a:rPr lang="zh-CN" altLang="en-US" sz="1400" dirty="0">
                    <a:latin typeface="+mn-ea"/>
                  </a:rPr>
                  <a:t>收取，</a:t>
                </a:r>
                <a:r>
                  <a:rPr lang="en-US" altLang="zh-CN" sz="1400" dirty="0">
                    <a:latin typeface="+mn-ea"/>
                  </a:rPr>
                  <a:t>3</a:t>
                </a:r>
                <a:r>
                  <a:rPr lang="zh-CN" altLang="en-US" sz="1400" dirty="0">
                    <a:latin typeface="+mn-ea"/>
                  </a:rPr>
                  <a:t>天以内的按</a:t>
                </a:r>
                <a:r>
                  <a:rPr lang="en-US" altLang="zh-CN" sz="1400" dirty="0">
                    <a:solidFill>
                      <a:srgbClr val="C00000"/>
                    </a:solidFill>
                    <a:latin typeface="+mn-ea"/>
                  </a:rPr>
                  <a:t>1.5‰/</a:t>
                </a:r>
                <a:r>
                  <a:rPr lang="zh-CN" altLang="en-US" sz="1400" dirty="0">
                    <a:solidFill>
                      <a:srgbClr val="C00000"/>
                    </a:solidFill>
                    <a:latin typeface="+mn-ea"/>
                  </a:rPr>
                  <a:t>次</a:t>
                </a:r>
                <a:r>
                  <a:rPr lang="zh-CN" altLang="en-US" sz="1400" dirty="0">
                    <a:latin typeface="+mn-ea"/>
                  </a:rPr>
                  <a:t>收取</a:t>
                </a:r>
                <a:endParaRPr lang="en-US" altLang="zh-CN" sz="1400" dirty="0">
                  <a:latin typeface="+mn-ea"/>
                </a:endParaRPr>
              </a:p>
              <a:p>
                <a:pPr marL="171450" indent="-171450" defTabSz="914400">
                  <a:lnSpc>
                    <a:spcPct val="130000"/>
                  </a:lnSpc>
                  <a:spcBef>
                    <a:spcPct val="0"/>
                  </a:spcBef>
                  <a:buFont typeface="Arial" panose="020B0604020202020204" pitchFamily="34" charset="0"/>
                  <a:buChar char="•"/>
                </a:pPr>
                <a:r>
                  <a:rPr lang="zh-CN" altLang="en-US" sz="1400" dirty="0">
                    <a:latin typeface="+mn-ea"/>
                  </a:rPr>
                  <a:t>疫情期间减按</a:t>
                </a:r>
                <a:r>
                  <a:rPr lang="en-US" altLang="zh-CN" sz="1400" b="1" dirty="0">
                    <a:solidFill>
                      <a:srgbClr val="C00000"/>
                    </a:solidFill>
                    <a:latin typeface="+mn-ea"/>
                  </a:rPr>
                  <a:t>0.4‰/</a:t>
                </a:r>
                <a:r>
                  <a:rPr lang="zh-CN" altLang="en-US" sz="1400" b="1" dirty="0">
                    <a:solidFill>
                      <a:srgbClr val="C00000"/>
                    </a:solidFill>
                    <a:latin typeface="+mn-ea"/>
                  </a:rPr>
                  <a:t>天</a:t>
                </a:r>
                <a:r>
                  <a:rPr lang="zh-CN" altLang="en-US" sz="1400" dirty="0">
                    <a:latin typeface="+mn-ea"/>
                  </a:rPr>
                  <a:t>收取</a:t>
                </a:r>
                <a:endParaRPr lang="zh-CN" altLang="en-US" sz="1400" dirty="0">
                  <a:latin typeface="+mn-ea"/>
                </a:endParaRPr>
              </a:p>
            </p:txBody>
          </p:sp>
          <p:sp>
            <p:nvSpPr>
              <p:cNvPr id="23" name="işļíḓè"/>
              <p:cNvSpPr txBox="1"/>
              <p:nvPr/>
            </p:nvSpPr>
            <p:spPr bwMode="auto">
              <a:xfrm>
                <a:off x="6944752" y="4979263"/>
                <a:ext cx="2818373"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9200">
                  <a:spcBef>
                    <a:spcPct val="0"/>
                  </a:spcBef>
                  <a:defRPr/>
                </a:pPr>
                <a:r>
                  <a:rPr lang="zh-CN" altLang="en-US" b="1" dirty="0">
                    <a:solidFill>
                      <a:schemeClr val="dk1">
                        <a:lumMod val="100000"/>
                      </a:schemeClr>
                    </a:solidFill>
                  </a:rPr>
                  <a:t>收费标准</a:t>
                </a:r>
                <a:endParaRPr lang="zh-CN" altLang="en-US" b="1" dirty="0">
                  <a:solidFill>
                    <a:schemeClr val="dk1">
                      <a:lumMod val="100000"/>
                    </a:schemeClr>
                  </a:solidFill>
                </a:endParaRPr>
              </a:p>
            </p:txBody>
          </p:sp>
          <p:sp>
            <p:nvSpPr>
              <p:cNvPr id="24" name="ïṧľiḋe"/>
              <p:cNvSpPr/>
              <p:nvPr/>
            </p:nvSpPr>
            <p:spPr bwMode="auto">
              <a:xfrm>
                <a:off x="6354147" y="5212257"/>
                <a:ext cx="397846" cy="398217"/>
              </a:xfrm>
              <a:custGeom>
                <a:avLst/>
                <a:gdLst>
                  <a:gd name="connsiteX0" fmla="*/ 451337 w 606157"/>
                  <a:gd name="connsiteY0" fmla="*/ 147905 h 606722"/>
                  <a:gd name="connsiteX1" fmla="*/ 569477 w 606157"/>
                  <a:gd name="connsiteY1" fmla="*/ 147905 h 606722"/>
                  <a:gd name="connsiteX2" fmla="*/ 606157 w 606157"/>
                  <a:gd name="connsiteY2" fmla="*/ 186562 h 606722"/>
                  <a:gd name="connsiteX3" fmla="*/ 606157 w 606157"/>
                  <a:gd name="connsiteY3" fmla="*/ 363939 h 606722"/>
                  <a:gd name="connsiteX4" fmla="*/ 584434 w 606157"/>
                  <a:gd name="connsiteY4" fmla="*/ 385711 h 606722"/>
                  <a:gd name="connsiteX5" fmla="*/ 557904 w 606157"/>
                  <a:gd name="connsiteY5" fmla="*/ 385711 h 606722"/>
                  <a:gd name="connsiteX6" fmla="*/ 549980 w 606157"/>
                  <a:gd name="connsiteY6" fmla="*/ 548781 h 606722"/>
                  <a:gd name="connsiteX7" fmla="*/ 489085 w 606157"/>
                  <a:gd name="connsiteY7" fmla="*/ 606722 h 606722"/>
                  <a:gd name="connsiteX8" fmla="*/ 426854 w 606157"/>
                  <a:gd name="connsiteY8" fmla="*/ 547537 h 606722"/>
                  <a:gd name="connsiteX9" fmla="*/ 420711 w 606157"/>
                  <a:gd name="connsiteY9" fmla="*/ 420814 h 606722"/>
                  <a:gd name="connsiteX10" fmla="*/ 461219 w 606157"/>
                  <a:gd name="connsiteY10" fmla="*/ 363228 h 606722"/>
                  <a:gd name="connsiteX11" fmla="*/ 461219 w 606157"/>
                  <a:gd name="connsiteY11" fmla="*/ 185762 h 606722"/>
                  <a:gd name="connsiteX12" fmla="*/ 451337 w 606157"/>
                  <a:gd name="connsiteY12" fmla="*/ 147905 h 606722"/>
                  <a:gd name="connsiteX13" fmla="*/ 38457 w 606157"/>
                  <a:gd name="connsiteY13" fmla="*/ 147552 h 606722"/>
                  <a:gd name="connsiteX14" fmla="*/ 155074 w 606157"/>
                  <a:gd name="connsiteY14" fmla="*/ 147552 h 606722"/>
                  <a:gd name="connsiteX15" fmla="*/ 145014 w 606157"/>
                  <a:gd name="connsiteY15" fmla="*/ 185766 h 606722"/>
                  <a:gd name="connsiteX16" fmla="*/ 145014 w 606157"/>
                  <a:gd name="connsiteY16" fmla="*/ 363239 h 606722"/>
                  <a:gd name="connsiteX17" fmla="*/ 187210 w 606157"/>
                  <a:gd name="connsiteY17" fmla="*/ 421360 h 606722"/>
                  <a:gd name="connsiteX18" fmla="*/ 181068 w 606157"/>
                  <a:gd name="connsiteY18" fmla="*/ 548444 h 606722"/>
                  <a:gd name="connsiteX19" fmla="*/ 120178 w 606157"/>
                  <a:gd name="connsiteY19" fmla="*/ 606298 h 606722"/>
                  <a:gd name="connsiteX20" fmla="*/ 57952 w 606157"/>
                  <a:gd name="connsiteY20" fmla="*/ 547200 h 606722"/>
                  <a:gd name="connsiteX21" fmla="*/ 50029 w 606157"/>
                  <a:gd name="connsiteY21" fmla="*/ 385279 h 606722"/>
                  <a:gd name="connsiteX22" fmla="*/ 21810 w 606157"/>
                  <a:gd name="connsiteY22" fmla="*/ 385279 h 606722"/>
                  <a:gd name="connsiteX23" fmla="*/ 0 w 606157"/>
                  <a:gd name="connsiteY23" fmla="*/ 363595 h 606722"/>
                  <a:gd name="connsiteX24" fmla="*/ 0 w 606157"/>
                  <a:gd name="connsiteY24" fmla="*/ 186122 h 606722"/>
                  <a:gd name="connsiteX25" fmla="*/ 38457 w 606157"/>
                  <a:gd name="connsiteY25" fmla="*/ 147552 h 606722"/>
                  <a:gd name="connsiteX26" fmla="*/ 222975 w 606157"/>
                  <a:gd name="connsiteY26" fmla="*/ 147058 h 606722"/>
                  <a:gd name="connsiteX27" fmla="*/ 282512 w 606157"/>
                  <a:gd name="connsiteY27" fmla="*/ 147058 h 606722"/>
                  <a:gd name="connsiteX28" fmla="*/ 270498 w 606157"/>
                  <a:gd name="connsiteY28" fmla="*/ 159057 h 606722"/>
                  <a:gd name="connsiteX29" fmla="*/ 270498 w 606157"/>
                  <a:gd name="connsiteY29" fmla="*/ 169278 h 606722"/>
                  <a:gd name="connsiteX30" fmla="*/ 283224 w 606157"/>
                  <a:gd name="connsiteY30" fmla="*/ 181988 h 606722"/>
                  <a:gd name="connsiteX31" fmla="*/ 273345 w 606157"/>
                  <a:gd name="connsiteY31" fmla="*/ 292199 h 606722"/>
                  <a:gd name="connsiteX32" fmla="*/ 276193 w 606157"/>
                  <a:gd name="connsiteY32" fmla="*/ 302953 h 606722"/>
                  <a:gd name="connsiteX33" fmla="*/ 297196 w 606157"/>
                  <a:gd name="connsiteY33" fmla="*/ 332550 h 606722"/>
                  <a:gd name="connsiteX34" fmla="*/ 303070 w 606157"/>
                  <a:gd name="connsiteY34" fmla="*/ 335572 h 606722"/>
                  <a:gd name="connsiteX35" fmla="*/ 309032 w 606157"/>
                  <a:gd name="connsiteY35" fmla="*/ 332550 h 606722"/>
                  <a:gd name="connsiteX36" fmla="*/ 329946 w 606157"/>
                  <a:gd name="connsiteY36" fmla="*/ 302953 h 606722"/>
                  <a:gd name="connsiteX37" fmla="*/ 332883 w 606157"/>
                  <a:gd name="connsiteY37" fmla="*/ 292199 h 606722"/>
                  <a:gd name="connsiteX38" fmla="*/ 323004 w 606157"/>
                  <a:gd name="connsiteY38" fmla="*/ 181988 h 606722"/>
                  <a:gd name="connsiteX39" fmla="*/ 335641 w 606157"/>
                  <a:gd name="connsiteY39" fmla="*/ 169278 h 606722"/>
                  <a:gd name="connsiteX40" fmla="*/ 335641 w 606157"/>
                  <a:gd name="connsiteY40" fmla="*/ 159057 h 606722"/>
                  <a:gd name="connsiteX41" fmla="*/ 323627 w 606157"/>
                  <a:gd name="connsiteY41" fmla="*/ 147058 h 606722"/>
                  <a:gd name="connsiteX42" fmla="*/ 385033 w 606157"/>
                  <a:gd name="connsiteY42" fmla="*/ 147058 h 606722"/>
                  <a:gd name="connsiteX43" fmla="*/ 385033 w 606157"/>
                  <a:gd name="connsiteY43" fmla="*/ 147147 h 606722"/>
                  <a:gd name="connsiteX44" fmla="*/ 421699 w 606157"/>
                  <a:gd name="connsiteY44" fmla="*/ 185721 h 606722"/>
                  <a:gd name="connsiteX45" fmla="*/ 421699 w 606157"/>
                  <a:gd name="connsiteY45" fmla="*/ 363214 h 606722"/>
                  <a:gd name="connsiteX46" fmla="*/ 399895 w 606157"/>
                  <a:gd name="connsiteY46" fmla="*/ 384901 h 606722"/>
                  <a:gd name="connsiteX47" fmla="*/ 373375 w 606157"/>
                  <a:gd name="connsiteY47" fmla="*/ 384901 h 606722"/>
                  <a:gd name="connsiteX48" fmla="*/ 371506 w 606157"/>
                  <a:gd name="connsiteY48" fmla="*/ 424363 h 606722"/>
                  <a:gd name="connsiteX49" fmla="*/ 365455 w 606157"/>
                  <a:gd name="connsiteY49" fmla="*/ 548084 h 606722"/>
                  <a:gd name="connsiteX50" fmla="*/ 304582 w 606157"/>
                  <a:gd name="connsiteY50" fmla="*/ 605945 h 606722"/>
                  <a:gd name="connsiteX51" fmla="*/ 242464 w 606157"/>
                  <a:gd name="connsiteY51" fmla="*/ 546840 h 606722"/>
                  <a:gd name="connsiteX52" fmla="*/ 236502 w 606157"/>
                  <a:gd name="connsiteY52" fmla="*/ 424363 h 606722"/>
                  <a:gd name="connsiteX53" fmla="*/ 234544 w 606157"/>
                  <a:gd name="connsiteY53" fmla="*/ 384901 h 606722"/>
                  <a:gd name="connsiteX54" fmla="*/ 206244 w 606157"/>
                  <a:gd name="connsiteY54" fmla="*/ 384901 h 606722"/>
                  <a:gd name="connsiteX55" fmla="*/ 184529 w 606157"/>
                  <a:gd name="connsiteY55" fmla="*/ 363214 h 606722"/>
                  <a:gd name="connsiteX56" fmla="*/ 184529 w 606157"/>
                  <a:gd name="connsiteY56" fmla="*/ 185721 h 606722"/>
                  <a:gd name="connsiteX57" fmla="*/ 222975 w 606157"/>
                  <a:gd name="connsiteY57" fmla="*/ 147058 h 606722"/>
                  <a:gd name="connsiteX58" fmla="*/ 488454 w 606157"/>
                  <a:gd name="connsiteY58" fmla="*/ 706 h 606722"/>
                  <a:gd name="connsiteX59" fmla="*/ 550481 w 606157"/>
                  <a:gd name="connsiteY59" fmla="*/ 62663 h 606722"/>
                  <a:gd name="connsiteX60" fmla="*/ 488454 w 606157"/>
                  <a:gd name="connsiteY60" fmla="*/ 124620 h 606722"/>
                  <a:gd name="connsiteX61" fmla="*/ 426427 w 606157"/>
                  <a:gd name="connsiteY61" fmla="*/ 62663 h 606722"/>
                  <a:gd name="connsiteX62" fmla="*/ 488454 w 606157"/>
                  <a:gd name="connsiteY62" fmla="*/ 706 h 606722"/>
                  <a:gd name="connsiteX63" fmla="*/ 119538 w 606157"/>
                  <a:gd name="connsiteY63" fmla="*/ 353 h 606722"/>
                  <a:gd name="connsiteX64" fmla="*/ 181565 w 606157"/>
                  <a:gd name="connsiteY64" fmla="*/ 62310 h 606722"/>
                  <a:gd name="connsiteX65" fmla="*/ 119538 w 606157"/>
                  <a:gd name="connsiteY65" fmla="*/ 124267 h 606722"/>
                  <a:gd name="connsiteX66" fmla="*/ 57511 w 606157"/>
                  <a:gd name="connsiteY66" fmla="*/ 62310 h 606722"/>
                  <a:gd name="connsiteX67" fmla="*/ 119538 w 606157"/>
                  <a:gd name="connsiteY67" fmla="*/ 353 h 606722"/>
                  <a:gd name="connsiteX68" fmla="*/ 303961 w 606157"/>
                  <a:gd name="connsiteY68" fmla="*/ 0 h 606722"/>
                  <a:gd name="connsiteX69" fmla="*/ 366024 w 606157"/>
                  <a:gd name="connsiteY69" fmla="*/ 61957 h 606722"/>
                  <a:gd name="connsiteX70" fmla="*/ 303961 w 606157"/>
                  <a:gd name="connsiteY70" fmla="*/ 123914 h 606722"/>
                  <a:gd name="connsiteX71" fmla="*/ 241898 w 606157"/>
                  <a:gd name="connsiteY71" fmla="*/ 61957 h 606722"/>
                  <a:gd name="connsiteX72" fmla="*/ 303961 w 606157"/>
                  <a:gd name="connsiteY72"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06157" h="606722">
                    <a:moveTo>
                      <a:pt x="451337" y="147905"/>
                    </a:moveTo>
                    <a:lnTo>
                      <a:pt x="569477" y="147905"/>
                    </a:lnTo>
                    <a:cubicBezTo>
                      <a:pt x="589954" y="148971"/>
                      <a:pt x="606157" y="165856"/>
                      <a:pt x="606157" y="186562"/>
                    </a:cubicBezTo>
                    <a:lnTo>
                      <a:pt x="606157" y="363939"/>
                    </a:lnTo>
                    <a:cubicBezTo>
                      <a:pt x="606157" y="375936"/>
                      <a:pt x="596453" y="385711"/>
                      <a:pt x="584434" y="385711"/>
                    </a:cubicBezTo>
                    <a:lnTo>
                      <a:pt x="557904" y="385711"/>
                    </a:lnTo>
                    <a:lnTo>
                      <a:pt x="549980" y="548781"/>
                    </a:lnTo>
                    <a:cubicBezTo>
                      <a:pt x="548378" y="581217"/>
                      <a:pt x="521580" y="606722"/>
                      <a:pt x="489085" y="606722"/>
                    </a:cubicBezTo>
                    <a:cubicBezTo>
                      <a:pt x="455877" y="606722"/>
                      <a:pt x="428456" y="580684"/>
                      <a:pt x="426854" y="547537"/>
                    </a:cubicBezTo>
                    <a:lnTo>
                      <a:pt x="420711" y="420814"/>
                    </a:lnTo>
                    <a:cubicBezTo>
                      <a:pt x="444482" y="412194"/>
                      <a:pt x="461219" y="389355"/>
                      <a:pt x="461219" y="363228"/>
                    </a:cubicBezTo>
                    <a:lnTo>
                      <a:pt x="461219" y="185762"/>
                    </a:lnTo>
                    <a:cubicBezTo>
                      <a:pt x="461219" y="172077"/>
                      <a:pt x="457658" y="159102"/>
                      <a:pt x="451337" y="147905"/>
                    </a:cubicBezTo>
                    <a:close/>
                    <a:moveTo>
                      <a:pt x="38457" y="147552"/>
                    </a:moveTo>
                    <a:lnTo>
                      <a:pt x="155074" y="147552"/>
                    </a:lnTo>
                    <a:cubicBezTo>
                      <a:pt x="148664" y="158839"/>
                      <a:pt x="145014" y="171902"/>
                      <a:pt x="145014" y="185766"/>
                    </a:cubicBezTo>
                    <a:lnTo>
                      <a:pt x="145014" y="363239"/>
                    </a:lnTo>
                    <a:cubicBezTo>
                      <a:pt x="145014" y="389811"/>
                      <a:pt x="162284" y="413184"/>
                      <a:pt x="187210" y="421360"/>
                    </a:cubicBezTo>
                    <a:lnTo>
                      <a:pt x="181068" y="548444"/>
                    </a:lnTo>
                    <a:cubicBezTo>
                      <a:pt x="179465" y="580881"/>
                      <a:pt x="152670" y="606298"/>
                      <a:pt x="120178" y="606298"/>
                    </a:cubicBezTo>
                    <a:cubicBezTo>
                      <a:pt x="86973" y="606298"/>
                      <a:pt x="59555" y="580348"/>
                      <a:pt x="57952" y="547200"/>
                    </a:cubicBezTo>
                    <a:lnTo>
                      <a:pt x="50029" y="385279"/>
                    </a:lnTo>
                    <a:lnTo>
                      <a:pt x="21810" y="385279"/>
                    </a:lnTo>
                    <a:cubicBezTo>
                      <a:pt x="9792" y="385279"/>
                      <a:pt x="0" y="375592"/>
                      <a:pt x="0" y="363595"/>
                    </a:cubicBezTo>
                    <a:lnTo>
                      <a:pt x="0" y="186122"/>
                    </a:lnTo>
                    <a:cubicBezTo>
                      <a:pt x="0" y="164882"/>
                      <a:pt x="17181" y="147641"/>
                      <a:pt x="38457" y="147552"/>
                    </a:cubicBezTo>
                    <a:close/>
                    <a:moveTo>
                      <a:pt x="222975" y="147058"/>
                    </a:moveTo>
                    <a:lnTo>
                      <a:pt x="282512" y="147058"/>
                    </a:lnTo>
                    <a:lnTo>
                      <a:pt x="270498" y="159057"/>
                    </a:lnTo>
                    <a:cubicBezTo>
                      <a:pt x="267739" y="161901"/>
                      <a:pt x="267739" y="166523"/>
                      <a:pt x="270498" y="169278"/>
                    </a:cubicBezTo>
                    <a:lnTo>
                      <a:pt x="283224" y="181988"/>
                    </a:lnTo>
                    <a:lnTo>
                      <a:pt x="273345" y="292199"/>
                    </a:lnTo>
                    <a:cubicBezTo>
                      <a:pt x="272989" y="296021"/>
                      <a:pt x="274057" y="299754"/>
                      <a:pt x="276193" y="302953"/>
                    </a:cubicBezTo>
                    <a:lnTo>
                      <a:pt x="297196" y="332550"/>
                    </a:lnTo>
                    <a:cubicBezTo>
                      <a:pt x="298531" y="334417"/>
                      <a:pt x="300756" y="335572"/>
                      <a:pt x="303070" y="335572"/>
                    </a:cubicBezTo>
                    <a:cubicBezTo>
                      <a:pt x="305472" y="335572"/>
                      <a:pt x="307608" y="334417"/>
                      <a:pt x="309032" y="332550"/>
                    </a:cubicBezTo>
                    <a:lnTo>
                      <a:pt x="329946" y="302953"/>
                    </a:lnTo>
                    <a:cubicBezTo>
                      <a:pt x="332171" y="299754"/>
                      <a:pt x="333239" y="296021"/>
                      <a:pt x="332883" y="292199"/>
                    </a:cubicBezTo>
                    <a:lnTo>
                      <a:pt x="323004" y="181988"/>
                    </a:lnTo>
                    <a:lnTo>
                      <a:pt x="335641" y="169278"/>
                    </a:lnTo>
                    <a:cubicBezTo>
                      <a:pt x="338489" y="166523"/>
                      <a:pt x="338489" y="161901"/>
                      <a:pt x="335641" y="159057"/>
                    </a:cubicBezTo>
                    <a:lnTo>
                      <a:pt x="323627" y="147058"/>
                    </a:lnTo>
                    <a:lnTo>
                      <a:pt x="385033" y="147058"/>
                    </a:lnTo>
                    <a:lnTo>
                      <a:pt x="385033" y="147147"/>
                    </a:lnTo>
                    <a:cubicBezTo>
                      <a:pt x="405413" y="148214"/>
                      <a:pt x="421699" y="165101"/>
                      <a:pt x="421699" y="185721"/>
                    </a:cubicBezTo>
                    <a:lnTo>
                      <a:pt x="421699" y="363214"/>
                    </a:lnTo>
                    <a:cubicBezTo>
                      <a:pt x="421699" y="375213"/>
                      <a:pt x="411910" y="384901"/>
                      <a:pt x="399895" y="384901"/>
                    </a:cubicBezTo>
                    <a:lnTo>
                      <a:pt x="373375" y="384901"/>
                    </a:lnTo>
                    <a:lnTo>
                      <a:pt x="371506" y="424363"/>
                    </a:lnTo>
                    <a:lnTo>
                      <a:pt x="365455" y="548084"/>
                    </a:lnTo>
                    <a:cubicBezTo>
                      <a:pt x="363853" y="580525"/>
                      <a:pt x="337154" y="605945"/>
                      <a:pt x="304582" y="605945"/>
                    </a:cubicBezTo>
                    <a:cubicBezTo>
                      <a:pt x="271388" y="605945"/>
                      <a:pt x="244066" y="579903"/>
                      <a:pt x="242464" y="546840"/>
                    </a:cubicBezTo>
                    <a:lnTo>
                      <a:pt x="236502" y="424363"/>
                    </a:lnTo>
                    <a:lnTo>
                      <a:pt x="234544" y="384901"/>
                    </a:lnTo>
                    <a:lnTo>
                      <a:pt x="206244" y="384901"/>
                    </a:lnTo>
                    <a:cubicBezTo>
                      <a:pt x="194229" y="384901"/>
                      <a:pt x="184529" y="375213"/>
                      <a:pt x="184529" y="363214"/>
                    </a:cubicBezTo>
                    <a:lnTo>
                      <a:pt x="184529" y="185721"/>
                    </a:lnTo>
                    <a:cubicBezTo>
                      <a:pt x="184529" y="164479"/>
                      <a:pt x="201705" y="147236"/>
                      <a:pt x="222975" y="147058"/>
                    </a:cubicBezTo>
                    <a:close/>
                    <a:moveTo>
                      <a:pt x="488454" y="706"/>
                    </a:moveTo>
                    <a:cubicBezTo>
                      <a:pt x="522711" y="706"/>
                      <a:pt x="550481" y="28445"/>
                      <a:pt x="550481" y="62663"/>
                    </a:cubicBezTo>
                    <a:cubicBezTo>
                      <a:pt x="550481" y="96881"/>
                      <a:pt x="522711" y="124620"/>
                      <a:pt x="488454" y="124620"/>
                    </a:cubicBezTo>
                    <a:cubicBezTo>
                      <a:pt x="454197" y="124620"/>
                      <a:pt x="426427" y="96881"/>
                      <a:pt x="426427" y="62663"/>
                    </a:cubicBezTo>
                    <a:cubicBezTo>
                      <a:pt x="426427" y="28445"/>
                      <a:pt x="454197" y="706"/>
                      <a:pt x="488454" y="706"/>
                    </a:cubicBezTo>
                    <a:close/>
                    <a:moveTo>
                      <a:pt x="119538" y="353"/>
                    </a:moveTo>
                    <a:cubicBezTo>
                      <a:pt x="153795" y="353"/>
                      <a:pt x="181565" y="28092"/>
                      <a:pt x="181565" y="62310"/>
                    </a:cubicBezTo>
                    <a:cubicBezTo>
                      <a:pt x="181565" y="96528"/>
                      <a:pt x="153795" y="124267"/>
                      <a:pt x="119538" y="124267"/>
                    </a:cubicBezTo>
                    <a:cubicBezTo>
                      <a:pt x="85281" y="124267"/>
                      <a:pt x="57511" y="96528"/>
                      <a:pt x="57511" y="62310"/>
                    </a:cubicBezTo>
                    <a:cubicBezTo>
                      <a:pt x="57511" y="28092"/>
                      <a:pt x="85281" y="353"/>
                      <a:pt x="119538" y="353"/>
                    </a:cubicBezTo>
                    <a:close/>
                    <a:moveTo>
                      <a:pt x="303961" y="0"/>
                    </a:moveTo>
                    <a:cubicBezTo>
                      <a:pt x="338237" y="0"/>
                      <a:pt x="366024" y="27739"/>
                      <a:pt x="366024" y="61957"/>
                    </a:cubicBezTo>
                    <a:cubicBezTo>
                      <a:pt x="366024" y="96175"/>
                      <a:pt x="338237" y="123914"/>
                      <a:pt x="303961" y="123914"/>
                    </a:cubicBezTo>
                    <a:cubicBezTo>
                      <a:pt x="269685" y="123914"/>
                      <a:pt x="241898" y="96175"/>
                      <a:pt x="241898" y="61957"/>
                    </a:cubicBezTo>
                    <a:cubicBezTo>
                      <a:pt x="241898" y="27739"/>
                      <a:pt x="269685" y="0"/>
                      <a:pt x="303961" y="0"/>
                    </a:cubicBezTo>
                    <a:close/>
                  </a:path>
                </a:pathLst>
              </a:custGeom>
              <a:solidFill>
                <a:schemeClr val="tx1">
                  <a:lumMod val="50000"/>
                  <a:lumOff val="50000"/>
                </a:schemeClr>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11" name="îşļíḓé"/>
            <p:cNvSpPr/>
            <p:nvPr/>
          </p:nvSpPr>
          <p:spPr>
            <a:xfrm>
              <a:off x="-1" y="1495425"/>
              <a:ext cx="1990725" cy="981075"/>
            </a:xfrm>
            <a:prstGeom prst="rect">
              <a:avLst/>
            </a:prstGeom>
            <a:blipFill>
              <a:blip r:embed="rId2"/>
              <a:stretch>
                <a:fillRect t="-17867" b="-17408"/>
              </a:stretch>
            </a:blip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zh-CN" altLang="en-US">
                <a:solidFill>
                  <a:schemeClr val="bg1"/>
                </a:solidFill>
              </a:endParaRPr>
            </a:p>
          </p:txBody>
        </p:sp>
        <p:grpSp>
          <p:nvGrpSpPr>
            <p:cNvPr id="12" name="iṥ1íḍé"/>
            <p:cNvGrpSpPr/>
            <p:nvPr/>
          </p:nvGrpSpPr>
          <p:grpSpPr>
            <a:xfrm>
              <a:off x="8111510" y="3324635"/>
              <a:ext cx="3408978" cy="2861734"/>
              <a:chOff x="6354147" y="3324635"/>
              <a:chExt cx="3408978" cy="2861734"/>
            </a:xfrm>
          </p:grpSpPr>
          <p:sp>
            <p:nvSpPr>
              <p:cNvPr id="13" name="iš1ídé"/>
              <p:cNvSpPr/>
              <p:nvPr/>
            </p:nvSpPr>
            <p:spPr bwMode="auto">
              <a:xfrm>
                <a:off x="6944752" y="3766440"/>
                <a:ext cx="2818373" cy="1060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30000"/>
                  </a:lnSpc>
                  <a:spcBef>
                    <a:spcPct val="0"/>
                  </a:spcBef>
                  <a:buFont typeface="Arial" panose="020B0604020202020204" pitchFamily="34" charset="0"/>
                  <a:buChar char="•"/>
                </a:pPr>
                <a:r>
                  <a:rPr lang="zh-CN" altLang="en-US" sz="1400" dirty="0">
                    <a:latin typeface="+mn-ea"/>
                  </a:rPr>
                  <a:t>单笔贷款金额不超过</a:t>
                </a:r>
                <a:r>
                  <a:rPr lang="en-US" altLang="zh-CN" sz="1400" b="1" dirty="0">
                    <a:solidFill>
                      <a:srgbClr val="C00000"/>
                    </a:solidFill>
                    <a:latin typeface="+mn-ea"/>
                  </a:rPr>
                  <a:t>1500</a:t>
                </a:r>
                <a:r>
                  <a:rPr lang="zh-CN" altLang="en-US" sz="1400" b="1" dirty="0">
                    <a:solidFill>
                      <a:srgbClr val="C00000"/>
                    </a:solidFill>
                    <a:latin typeface="+mn-ea"/>
                  </a:rPr>
                  <a:t>万元</a:t>
                </a:r>
                <a:endParaRPr lang="en-US" altLang="zh-CN" sz="1400" b="1" dirty="0">
                  <a:solidFill>
                    <a:srgbClr val="C00000"/>
                  </a:solidFill>
                  <a:latin typeface="+mn-ea"/>
                </a:endParaRPr>
              </a:p>
              <a:p>
                <a:pPr marL="171450" indent="-171450">
                  <a:lnSpc>
                    <a:spcPct val="130000"/>
                  </a:lnSpc>
                  <a:spcBef>
                    <a:spcPct val="0"/>
                  </a:spcBef>
                  <a:buFont typeface="Arial" panose="020B0604020202020204" pitchFamily="34" charset="0"/>
                  <a:buChar char="•"/>
                </a:pPr>
                <a:r>
                  <a:rPr lang="zh-CN" altLang="en-US" sz="1400" dirty="0">
                    <a:latin typeface="+mn-ea"/>
                  </a:rPr>
                  <a:t>正常类流动资金贷款</a:t>
                </a:r>
                <a:endParaRPr lang="en-US" altLang="zh-CN" sz="1400" dirty="0">
                  <a:latin typeface="+mn-ea"/>
                </a:endParaRPr>
              </a:p>
              <a:p>
                <a:pPr marL="171450" indent="-171450">
                  <a:lnSpc>
                    <a:spcPct val="130000"/>
                  </a:lnSpc>
                  <a:spcBef>
                    <a:spcPct val="0"/>
                  </a:spcBef>
                  <a:buFont typeface="Arial" panose="020B0604020202020204" pitchFamily="34" charset="0"/>
                  <a:buChar char="•"/>
                </a:pPr>
                <a:r>
                  <a:rPr lang="zh-CN" altLang="en-US" sz="1400" dirty="0">
                    <a:latin typeface="+mn-ea"/>
                  </a:rPr>
                  <a:t>信用记录良好</a:t>
                </a:r>
                <a:endParaRPr lang="en-US" altLang="zh-CN" sz="1400" dirty="0">
                  <a:latin typeface="+mn-ea"/>
                </a:endParaRPr>
              </a:p>
            </p:txBody>
          </p:sp>
          <p:sp>
            <p:nvSpPr>
              <p:cNvPr id="14" name="ïSľíḋe"/>
              <p:cNvSpPr txBox="1"/>
              <p:nvPr/>
            </p:nvSpPr>
            <p:spPr bwMode="auto">
              <a:xfrm>
                <a:off x="6944752" y="3324635"/>
                <a:ext cx="2818373"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9200">
                  <a:spcBef>
                    <a:spcPct val="0"/>
                  </a:spcBef>
                  <a:defRPr/>
                </a:pPr>
                <a:r>
                  <a:rPr lang="zh-CN" altLang="en-US" b="1" dirty="0">
                    <a:solidFill>
                      <a:schemeClr val="dk1">
                        <a:lumMod val="100000"/>
                      </a:schemeClr>
                    </a:solidFill>
                  </a:rPr>
                  <a:t>贷款要求</a:t>
                </a:r>
                <a:endParaRPr lang="zh-CN" altLang="en-US" b="1" dirty="0">
                  <a:solidFill>
                    <a:schemeClr val="dk1">
                      <a:lumMod val="100000"/>
                    </a:schemeClr>
                  </a:solidFill>
                </a:endParaRPr>
              </a:p>
            </p:txBody>
          </p:sp>
          <p:sp>
            <p:nvSpPr>
              <p:cNvPr id="15" name="í$1iďe"/>
              <p:cNvSpPr/>
              <p:nvPr/>
            </p:nvSpPr>
            <p:spPr bwMode="auto">
              <a:xfrm>
                <a:off x="6354147" y="3557629"/>
                <a:ext cx="397846" cy="398217"/>
              </a:xfrm>
              <a:custGeom>
                <a:avLst/>
                <a:gdLst>
                  <a:gd name="connsiteX0" fmla="*/ 451337 w 606157"/>
                  <a:gd name="connsiteY0" fmla="*/ 147905 h 606722"/>
                  <a:gd name="connsiteX1" fmla="*/ 569477 w 606157"/>
                  <a:gd name="connsiteY1" fmla="*/ 147905 h 606722"/>
                  <a:gd name="connsiteX2" fmla="*/ 606157 w 606157"/>
                  <a:gd name="connsiteY2" fmla="*/ 186562 h 606722"/>
                  <a:gd name="connsiteX3" fmla="*/ 606157 w 606157"/>
                  <a:gd name="connsiteY3" fmla="*/ 363939 h 606722"/>
                  <a:gd name="connsiteX4" fmla="*/ 584434 w 606157"/>
                  <a:gd name="connsiteY4" fmla="*/ 385711 h 606722"/>
                  <a:gd name="connsiteX5" fmla="*/ 557904 w 606157"/>
                  <a:gd name="connsiteY5" fmla="*/ 385711 h 606722"/>
                  <a:gd name="connsiteX6" fmla="*/ 549980 w 606157"/>
                  <a:gd name="connsiteY6" fmla="*/ 548781 h 606722"/>
                  <a:gd name="connsiteX7" fmla="*/ 489085 w 606157"/>
                  <a:gd name="connsiteY7" fmla="*/ 606722 h 606722"/>
                  <a:gd name="connsiteX8" fmla="*/ 426854 w 606157"/>
                  <a:gd name="connsiteY8" fmla="*/ 547537 h 606722"/>
                  <a:gd name="connsiteX9" fmla="*/ 420711 w 606157"/>
                  <a:gd name="connsiteY9" fmla="*/ 420814 h 606722"/>
                  <a:gd name="connsiteX10" fmla="*/ 461219 w 606157"/>
                  <a:gd name="connsiteY10" fmla="*/ 363228 h 606722"/>
                  <a:gd name="connsiteX11" fmla="*/ 461219 w 606157"/>
                  <a:gd name="connsiteY11" fmla="*/ 185762 h 606722"/>
                  <a:gd name="connsiteX12" fmla="*/ 451337 w 606157"/>
                  <a:gd name="connsiteY12" fmla="*/ 147905 h 606722"/>
                  <a:gd name="connsiteX13" fmla="*/ 38457 w 606157"/>
                  <a:gd name="connsiteY13" fmla="*/ 147552 h 606722"/>
                  <a:gd name="connsiteX14" fmla="*/ 155074 w 606157"/>
                  <a:gd name="connsiteY14" fmla="*/ 147552 h 606722"/>
                  <a:gd name="connsiteX15" fmla="*/ 145014 w 606157"/>
                  <a:gd name="connsiteY15" fmla="*/ 185766 h 606722"/>
                  <a:gd name="connsiteX16" fmla="*/ 145014 w 606157"/>
                  <a:gd name="connsiteY16" fmla="*/ 363239 h 606722"/>
                  <a:gd name="connsiteX17" fmla="*/ 187210 w 606157"/>
                  <a:gd name="connsiteY17" fmla="*/ 421360 h 606722"/>
                  <a:gd name="connsiteX18" fmla="*/ 181068 w 606157"/>
                  <a:gd name="connsiteY18" fmla="*/ 548444 h 606722"/>
                  <a:gd name="connsiteX19" fmla="*/ 120178 w 606157"/>
                  <a:gd name="connsiteY19" fmla="*/ 606298 h 606722"/>
                  <a:gd name="connsiteX20" fmla="*/ 57952 w 606157"/>
                  <a:gd name="connsiteY20" fmla="*/ 547200 h 606722"/>
                  <a:gd name="connsiteX21" fmla="*/ 50029 w 606157"/>
                  <a:gd name="connsiteY21" fmla="*/ 385279 h 606722"/>
                  <a:gd name="connsiteX22" fmla="*/ 21810 w 606157"/>
                  <a:gd name="connsiteY22" fmla="*/ 385279 h 606722"/>
                  <a:gd name="connsiteX23" fmla="*/ 0 w 606157"/>
                  <a:gd name="connsiteY23" fmla="*/ 363595 h 606722"/>
                  <a:gd name="connsiteX24" fmla="*/ 0 w 606157"/>
                  <a:gd name="connsiteY24" fmla="*/ 186122 h 606722"/>
                  <a:gd name="connsiteX25" fmla="*/ 38457 w 606157"/>
                  <a:gd name="connsiteY25" fmla="*/ 147552 h 606722"/>
                  <a:gd name="connsiteX26" fmla="*/ 222975 w 606157"/>
                  <a:gd name="connsiteY26" fmla="*/ 147058 h 606722"/>
                  <a:gd name="connsiteX27" fmla="*/ 282512 w 606157"/>
                  <a:gd name="connsiteY27" fmla="*/ 147058 h 606722"/>
                  <a:gd name="connsiteX28" fmla="*/ 270498 w 606157"/>
                  <a:gd name="connsiteY28" fmla="*/ 159057 h 606722"/>
                  <a:gd name="connsiteX29" fmla="*/ 270498 w 606157"/>
                  <a:gd name="connsiteY29" fmla="*/ 169278 h 606722"/>
                  <a:gd name="connsiteX30" fmla="*/ 283224 w 606157"/>
                  <a:gd name="connsiteY30" fmla="*/ 181988 h 606722"/>
                  <a:gd name="connsiteX31" fmla="*/ 273345 w 606157"/>
                  <a:gd name="connsiteY31" fmla="*/ 292199 h 606722"/>
                  <a:gd name="connsiteX32" fmla="*/ 276193 w 606157"/>
                  <a:gd name="connsiteY32" fmla="*/ 302953 h 606722"/>
                  <a:gd name="connsiteX33" fmla="*/ 297196 w 606157"/>
                  <a:gd name="connsiteY33" fmla="*/ 332550 h 606722"/>
                  <a:gd name="connsiteX34" fmla="*/ 303070 w 606157"/>
                  <a:gd name="connsiteY34" fmla="*/ 335572 h 606722"/>
                  <a:gd name="connsiteX35" fmla="*/ 309032 w 606157"/>
                  <a:gd name="connsiteY35" fmla="*/ 332550 h 606722"/>
                  <a:gd name="connsiteX36" fmla="*/ 329946 w 606157"/>
                  <a:gd name="connsiteY36" fmla="*/ 302953 h 606722"/>
                  <a:gd name="connsiteX37" fmla="*/ 332883 w 606157"/>
                  <a:gd name="connsiteY37" fmla="*/ 292199 h 606722"/>
                  <a:gd name="connsiteX38" fmla="*/ 323004 w 606157"/>
                  <a:gd name="connsiteY38" fmla="*/ 181988 h 606722"/>
                  <a:gd name="connsiteX39" fmla="*/ 335641 w 606157"/>
                  <a:gd name="connsiteY39" fmla="*/ 169278 h 606722"/>
                  <a:gd name="connsiteX40" fmla="*/ 335641 w 606157"/>
                  <a:gd name="connsiteY40" fmla="*/ 159057 h 606722"/>
                  <a:gd name="connsiteX41" fmla="*/ 323627 w 606157"/>
                  <a:gd name="connsiteY41" fmla="*/ 147058 h 606722"/>
                  <a:gd name="connsiteX42" fmla="*/ 385033 w 606157"/>
                  <a:gd name="connsiteY42" fmla="*/ 147058 h 606722"/>
                  <a:gd name="connsiteX43" fmla="*/ 385033 w 606157"/>
                  <a:gd name="connsiteY43" fmla="*/ 147147 h 606722"/>
                  <a:gd name="connsiteX44" fmla="*/ 421699 w 606157"/>
                  <a:gd name="connsiteY44" fmla="*/ 185721 h 606722"/>
                  <a:gd name="connsiteX45" fmla="*/ 421699 w 606157"/>
                  <a:gd name="connsiteY45" fmla="*/ 363214 h 606722"/>
                  <a:gd name="connsiteX46" fmla="*/ 399895 w 606157"/>
                  <a:gd name="connsiteY46" fmla="*/ 384901 h 606722"/>
                  <a:gd name="connsiteX47" fmla="*/ 373375 w 606157"/>
                  <a:gd name="connsiteY47" fmla="*/ 384901 h 606722"/>
                  <a:gd name="connsiteX48" fmla="*/ 371506 w 606157"/>
                  <a:gd name="connsiteY48" fmla="*/ 424363 h 606722"/>
                  <a:gd name="connsiteX49" fmla="*/ 365455 w 606157"/>
                  <a:gd name="connsiteY49" fmla="*/ 548084 h 606722"/>
                  <a:gd name="connsiteX50" fmla="*/ 304582 w 606157"/>
                  <a:gd name="connsiteY50" fmla="*/ 605945 h 606722"/>
                  <a:gd name="connsiteX51" fmla="*/ 242464 w 606157"/>
                  <a:gd name="connsiteY51" fmla="*/ 546840 h 606722"/>
                  <a:gd name="connsiteX52" fmla="*/ 236502 w 606157"/>
                  <a:gd name="connsiteY52" fmla="*/ 424363 h 606722"/>
                  <a:gd name="connsiteX53" fmla="*/ 234544 w 606157"/>
                  <a:gd name="connsiteY53" fmla="*/ 384901 h 606722"/>
                  <a:gd name="connsiteX54" fmla="*/ 206244 w 606157"/>
                  <a:gd name="connsiteY54" fmla="*/ 384901 h 606722"/>
                  <a:gd name="connsiteX55" fmla="*/ 184529 w 606157"/>
                  <a:gd name="connsiteY55" fmla="*/ 363214 h 606722"/>
                  <a:gd name="connsiteX56" fmla="*/ 184529 w 606157"/>
                  <a:gd name="connsiteY56" fmla="*/ 185721 h 606722"/>
                  <a:gd name="connsiteX57" fmla="*/ 222975 w 606157"/>
                  <a:gd name="connsiteY57" fmla="*/ 147058 h 606722"/>
                  <a:gd name="connsiteX58" fmla="*/ 488454 w 606157"/>
                  <a:gd name="connsiteY58" fmla="*/ 706 h 606722"/>
                  <a:gd name="connsiteX59" fmla="*/ 550481 w 606157"/>
                  <a:gd name="connsiteY59" fmla="*/ 62663 h 606722"/>
                  <a:gd name="connsiteX60" fmla="*/ 488454 w 606157"/>
                  <a:gd name="connsiteY60" fmla="*/ 124620 h 606722"/>
                  <a:gd name="connsiteX61" fmla="*/ 426427 w 606157"/>
                  <a:gd name="connsiteY61" fmla="*/ 62663 h 606722"/>
                  <a:gd name="connsiteX62" fmla="*/ 488454 w 606157"/>
                  <a:gd name="connsiteY62" fmla="*/ 706 h 606722"/>
                  <a:gd name="connsiteX63" fmla="*/ 119538 w 606157"/>
                  <a:gd name="connsiteY63" fmla="*/ 353 h 606722"/>
                  <a:gd name="connsiteX64" fmla="*/ 181565 w 606157"/>
                  <a:gd name="connsiteY64" fmla="*/ 62310 h 606722"/>
                  <a:gd name="connsiteX65" fmla="*/ 119538 w 606157"/>
                  <a:gd name="connsiteY65" fmla="*/ 124267 h 606722"/>
                  <a:gd name="connsiteX66" fmla="*/ 57511 w 606157"/>
                  <a:gd name="connsiteY66" fmla="*/ 62310 h 606722"/>
                  <a:gd name="connsiteX67" fmla="*/ 119538 w 606157"/>
                  <a:gd name="connsiteY67" fmla="*/ 353 h 606722"/>
                  <a:gd name="connsiteX68" fmla="*/ 303961 w 606157"/>
                  <a:gd name="connsiteY68" fmla="*/ 0 h 606722"/>
                  <a:gd name="connsiteX69" fmla="*/ 366024 w 606157"/>
                  <a:gd name="connsiteY69" fmla="*/ 61957 h 606722"/>
                  <a:gd name="connsiteX70" fmla="*/ 303961 w 606157"/>
                  <a:gd name="connsiteY70" fmla="*/ 123914 h 606722"/>
                  <a:gd name="connsiteX71" fmla="*/ 241898 w 606157"/>
                  <a:gd name="connsiteY71" fmla="*/ 61957 h 606722"/>
                  <a:gd name="connsiteX72" fmla="*/ 303961 w 606157"/>
                  <a:gd name="connsiteY72"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06157" h="606722">
                    <a:moveTo>
                      <a:pt x="451337" y="147905"/>
                    </a:moveTo>
                    <a:lnTo>
                      <a:pt x="569477" y="147905"/>
                    </a:lnTo>
                    <a:cubicBezTo>
                      <a:pt x="589954" y="148971"/>
                      <a:pt x="606157" y="165856"/>
                      <a:pt x="606157" y="186562"/>
                    </a:cubicBezTo>
                    <a:lnTo>
                      <a:pt x="606157" y="363939"/>
                    </a:lnTo>
                    <a:cubicBezTo>
                      <a:pt x="606157" y="375936"/>
                      <a:pt x="596453" y="385711"/>
                      <a:pt x="584434" y="385711"/>
                    </a:cubicBezTo>
                    <a:lnTo>
                      <a:pt x="557904" y="385711"/>
                    </a:lnTo>
                    <a:lnTo>
                      <a:pt x="549980" y="548781"/>
                    </a:lnTo>
                    <a:cubicBezTo>
                      <a:pt x="548378" y="581217"/>
                      <a:pt x="521580" y="606722"/>
                      <a:pt x="489085" y="606722"/>
                    </a:cubicBezTo>
                    <a:cubicBezTo>
                      <a:pt x="455877" y="606722"/>
                      <a:pt x="428456" y="580684"/>
                      <a:pt x="426854" y="547537"/>
                    </a:cubicBezTo>
                    <a:lnTo>
                      <a:pt x="420711" y="420814"/>
                    </a:lnTo>
                    <a:cubicBezTo>
                      <a:pt x="444482" y="412194"/>
                      <a:pt x="461219" y="389355"/>
                      <a:pt x="461219" y="363228"/>
                    </a:cubicBezTo>
                    <a:lnTo>
                      <a:pt x="461219" y="185762"/>
                    </a:lnTo>
                    <a:cubicBezTo>
                      <a:pt x="461219" y="172077"/>
                      <a:pt x="457658" y="159102"/>
                      <a:pt x="451337" y="147905"/>
                    </a:cubicBezTo>
                    <a:close/>
                    <a:moveTo>
                      <a:pt x="38457" y="147552"/>
                    </a:moveTo>
                    <a:lnTo>
                      <a:pt x="155074" y="147552"/>
                    </a:lnTo>
                    <a:cubicBezTo>
                      <a:pt x="148664" y="158839"/>
                      <a:pt x="145014" y="171902"/>
                      <a:pt x="145014" y="185766"/>
                    </a:cubicBezTo>
                    <a:lnTo>
                      <a:pt x="145014" y="363239"/>
                    </a:lnTo>
                    <a:cubicBezTo>
                      <a:pt x="145014" y="389811"/>
                      <a:pt x="162284" y="413184"/>
                      <a:pt x="187210" y="421360"/>
                    </a:cubicBezTo>
                    <a:lnTo>
                      <a:pt x="181068" y="548444"/>
                    </a:lnTo>
                    <a:cubicBezTo>
                      <a:pt x="179465" y="580881"/>
                      <a:pt x="152670" y="606298"/>
                      <a:pt x="120178" y="606298"/>
                    </a:cubicBezTo>
                    <a:cubicBezTo>
                      <a:pt x="86973" y="606298"/>
                      <a:pt x="59555" y="580348"/>
                      <a:pt x="57952" y="547200"/>
                    </a:cubicBezTo>
                    <a:lnTo>
                      <a:pt x="50029" y="385279"/>
                    </a:lnTo>
                    <a:lnTo>
                      <a:pt x="21810" y="385279"/>
                    </a:lnTo>
                    <a:cubicBezTo>
                      <a:pt x="9792" y="385279"/>
                      <a:pt x="0" y="375592"/>
                      <a:pt x="0" y="363595"/>
                    </a:cubicBezTo>
                    <a:lnTo>
                      <a:pt x="0" y="186122"/>
                    </a:lnTo>
                    <a:cubicBezTo>
                      <a:pt x="0" y="164882"/>
                      <a:pt x="17181" y="147641"/>
                      <a:pt x="38457" y="147552"/>
                    </a:cubicBezTo>
                    <a:close/>
                    <a:moveTo>
                      <a:pt x="222975" y="147058"/>
                    </a:moveTo>
                    <a:lnTo>
                      <a:pt x="282512" y="147058"/>
                    </a:lnTo>
                    <a:lnTo>
                      <a:pt x="270498" y="159057"/>
                    </a:lnTo>
                    <a:cubicBezTo>
                      <a:pt x="267739" y="161901"/>
                      <a:pt x="267739" y="166523"/>
                      <a:pt x="270498" y="169278"/>
                    </a:cubicBezTo>
                    <a:lnTo>
                      <a:pt x="283224" y="181988"/>
                    </a:lnTo>
                    <a:lnTo>
                      <a:pt x="273345" y="292199"/>
                    </a:lnTo>
                    <a:cubicBezTo>
                      <a:pt x="272989" y="296021"/>
                      <a:pt x="274057" y="299754"/>
                      <a:pt x="276193" y="302953"/>
                    </a:cubicBezTo>
                    <a:lnTo>
                      <a:pt x="297196" y="332550"/>
                    </a:lnTo>
                    <a:cubicBezTo>
                      <a:pt x="298531" y="334417"/>
                      <a:pt x="300756" y="335572"/>
                      <a:pt x="303070" y="335572"/>
                    </a:cubicBezTo>
                    <a:cubicBezTo>
                      <a:pt x="305472" y="335572"/>
                      <a:pt x="307608" y="334417"/>
                      <a:pt x="309032" y="332550"/>
                    </a:cubicBezTo>
                    <a:lnTo>
                      <a:pt x="329946" y="302953"/>
                    </a:lnTo>
                    <a:cubicBezTo>
                      <a:pt x="332171" y="299754"/>
                      <a:pt x="333239" y="296021"/>
                      <a:pt x="332883" y="292199"/>
                    </a:cubicBezTo>
                    <a:lnTo>
                      <a:pt x="323004" y="181988"/>
                    </a:lnTo>
                    <a:lnTo>
                      <a:pt x="335641" y="169278"/>
                    </a:lnTo>
                    <a:cubicBezTo>
                      <a:pt x="338489" y="166523"/>
                      <a:pt x="338489" y="161901"/>
                      <a:pt x="335641" y="159057"/>
                    </a:cubicBezTo>
                    <a:lnTo>
                      <a:pt x="323627" y="147058"/>
                    </a:lnTo>
                    <a:lnTo>
                      <a:pt x="385033" y="147058"/>
                    </a:lnTo>
                    <a:lnTo>
                      <a:pt x="385033" y="147147"/>
                    </a:lnTo>
                    <a:cubicBezTo>
                      <a:pt x="405413" y="148214"/>
                      <a:pt x="421699" y="165101"/>
                      <a:pt x="421699" y="185721"/>
                    </a:cubicBezTo>
                    <a:lnTo>
                      <a:pt x="421699" y="363214"/>
                    </a:lnTo>
                    <a:cubicBezTo>
                      <a:pt x="421699" y="375213"/>
                      <a:pt x="411910" y="384901"/>
                      <a:pt x="399895" y="384901"/>
                    </a:cubicBezTo>
                    <a:lnTo>
                      <a:pt x="373375" y="384901"/>
                    </a:lnTo>
                    <a:lnTo>
                      <a:pt x="371506" y="424363"/>
                    </a:lnTo>
                    <a:lnTo>
                      <a:pt x="365455" y="548084"/>
                    </a:lnTo>
                    <a:cubicBezTo>
                      <a:pt x="363853" y="580525"/>
                      <a:pt x="337154" y="605945"/>
                      <a:pt x="304582" y="605945"/>
                    </a:cubicBezTo>
                    <a:cubicBezTo>
                      <a:pt x="271388" y="605945"/>
                      <a:pt x="244066" y="579903"/>
                      <a:pt x="242464" y="546840"/>
                    </a:cubicBezTo>
                    <a:lnTo>
                      <a:pt x="236502" y="424363"/>
                    </a:lnTo>
                    <a:lnTo>
                      <a:pt x="234544" y="384901"/>
                    </a:lnTo>
                    <a:lnTo>
                      <a:pt x="206244" y="384901"/>
                    </a:lnTo>
                    <a:cubicBezTo>
                      <a:pt x="194229" y="384901"/>
                      <a:pt x="184529" y="375213"/>
                      <a:pt x="184529" y="363214"/>
                    </a:cubicBezTo>
                    <a:lnTo>
                      <a:pt x="184529" y="185721"/>
                    </a:lnTo>
                    <a:cubicBezTo>
                      <a:pt x="184529" y="164479"/>
                      <a:pt x="201705" y="147236"/>
                      <a:pt x="222975" y="147058"/>
                    </a:cubicBezTo>
                    <a:close/>
                    <a:moveTo>
                      <a:pt x="488454" y="706"/>
                    </a:moveTo>
                    <a:cubicBezTo>
                      <a:pt x="522711" y="706"/>
                      <a:pt x="550481" y="28445"/>
                      <a:pt x="550481" y="62663"/>
                    </a:cubicBezTo>
                    <a:cubicBezTo>
                      <a:pt x="550481" y="96881"/>
                      <a:pt x="522711" y="124620"/>
                      <a:pt x="488454" y="124620"/>
                    </a:cubicBezTo>
                    <a:cubicBezTo>
                      <a:pt x="454197" y="124620"/>
                      <a:pt x="426427" y="96881"/>
                      <a:pt x="426427" y="62663"/>
                    </a:cubicBezTo>
                    <a:cubicBezTo>
                      <a:pt x="426427" y="28445"/>
                      <a:pt x="454197" y="706"/>
                      <a:pt x="488454" y="706"/>
                    </a:cubicBezTo>
                    <a:close/>
                    <a:moveTo>
                      <a:pt x="119538" y="353"/>
                    </a:moveTo>
                    <a:cubicBezTo>
                      <a:pt x="153795" y="353"/>
                      <a:pt x="181565" y="28092"/>
                      <a:pt x="181565" y="62310"/>
                    </a:cubicBezTo>
                    <a:cubicBezTo>
                      <a:pt x="181565" y="96528"/>
                      <a:pt x="153795" y="124267"/>
                      <a:pt x="119538" y="124267"/>
                    </a:cubicBezTo>
                    <a:cubicBezTo>
                      <a:pt x="85281" y="124267"/>
                      <a:pt x="57511" y="96528"/>
                      <a:pt x="57511" y="62310"/>
                    </a:cubicBezTo>
                    <a:cubicBezTo>
                      <a:pt x="57511" y="28092"/>
                      <a:pt x="85281" y="353"/>
                      <a:pt x="119538" y="353"/>
                    </a:cubicBezTo>
                    <a:close/>
                    <a:moveTo>
                      <a:pt x="303961" y="0"/>
                    </a:moveTo>
                    <a:cubicBezTo>
                      <a:pt x="338237" y="0"/>
                      <a:pt x="366024" y="27739"/>
                      <a:pt x="366024" y="61957"/>
                    </a:cubicBezTo>
                    <a:cubicBezTo>
                      <a:pt x="366024" y="96175"/>
                      <a:pt x="338237" y="123914"/>
                      <a:pt x="303961" y="123914"/>
                    </a:cubicBezTo>
                    <a:cubicBezTo>
                      <a:pt x="269685" y="123914"/>
                      <a:pt x="241898" y="96175"/>
                      <a:pt x="241898" y="61957"/>
                    </a:cubicBezTo>
                    <a:cubicBezTo>
                      <a:pt x="241898" y="27739"/>
                      <a:pt x="269685" y="0"/>
                      <a:pt x="303961" y="0"/>
                    </a:cubicBezTo>
                    <a:close/>
                  </a:path>
                </a:pathLst>
              </a:custGeom>
              <a:solidFill>
                <a:schemeClr val="tx1">
                  <a:lumMod val="50000"/>
                  <a:lumOff val="50000"/>
                </a:schemeClr>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6" name="is1íḍê"/>
              <p:cNvSpPr/>
              <p:nvPr/>
            </p:nvSpPr>
            <p:spPr bwMode="auto">
              <a:xfrm>
                <a:off x="6944752" y="5421068"/>
                <a:ext cx="2818373"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1400" dirty="0">
                    <a:latin typeface="+mn-ea"/>
                  </a:rPr>
                  <a:t>不超过</a:t>
                </a:r>
                <a:r>
                  <a:rPr lang="en-US" altLang="zh-CN" sz="1400" b="1" dirty="0">
                    <a:solidFill>
                      <a:srgbClr val="C00000"/>
                    </a:solidFill>
                    <a:latin typeface="+mn-ea"/>
                  </a:rPr>
                  <a:t>10</a:t>
                </a:r>
                <a:r>
                  <a:rPr lang="zh-CN" altLang="en-US" sz="1400" b="1" dirty="0">
                    <a:solidFill>
                      <a:srgbClr val="C00000"/>
                    </a:solidFill>
                    <a:latin typeface="+mn-ea"/>
                  </a:rPr>
                  <a:t>个</a:t>
                </a:r>
                <a:r>
                  <a:rPr lang="zh-CN" altLang="en-US" sz="1400" dirty="0">
                    <a:latin typeface="+mn-ea"/>
                  </a:rPr>
                  <a:t>工作日</a:t>
                </a:r>
                <a:endParaRPr lang="zh-CN" altLang="en-US" sz="1400" dirty="0">
                  <a:latin typeface="+mn-ea"/>
                </a:endParaRPr>
              </a:p>
            </p:txBody>
          </p:sp>
          <p:sp>
            <p:nvSpPr>
              <p:cNvPr id="17" name="íṣḻíḑé"/>
              <p:cNvSpPr txBox="1"/>
              <p:nvPr/>
            </p:nvSpPr>
            <p:spPr bwMode="auto">
              <a:xfrm>
                <a:off x="6944752" y="4979263"/>
                <a:ext cx="2818373"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9200">
                  <a:spcBef>
                    <a:spcPct val="0"/>
                  </a:spcBef>
                  <a:defRPr/>
                </a:pPr>
                <a:r>
                  <a:rPr lang="zh-CN" altLang="en-US" b="1" dirty="0">
                    <a:solidFill>
                      <a:schemeClr val="dk1">
                        <a:lumMod val="100000"/>
                      </a:schemeClr>
                    </a:solidFill>
                  </a:rPr>
                  <a:t>使用期限</a:t>
                </a:r>
                <a:endParaRPr lang="zh-CN" altLang="en-US" b="1" dirty="0">
                  <a:solidFill>
                    <a:schemeClr val="dk1">
                      <a:lumMod val="100000"/>
                    </a:schemeClr>
                  </a:solidFill>
                </a:endParaRPr>
              </a:p>
            </p:txBody>
          </p:sp>
          <p:sp>
            <p:nvSpPr>
              <p:cNvPr id="18" name="íṩľiḓê"/>
              <p:cNvSpPr/>
              <p:nvPr/>
            </p:nvSpPr>
            <p:spPr bwMode="auto">
              <a:xfrm>
                <a:off x="6354147" y="5212257"/>
                <a:ext cx="397846" cy="398217"/>
              </a:xfrm>
              <a:custGeom>
                <a:avLst/>
                <a:gdLst>
                  <a:gd name="connsiteX0" fmla="*/ 451337 w 606157"/>
                  <a:gd name="connsiteY0" fmla="*/ 147905 h 606722"/>
                  <a:gd name="connsiteX1" fmla="*/ 569477 w 606157"/>
                  <a:gd name="connsiteY1" fmla="*/ 147905 h 606722"/>
                  <a:gd name="connsiteX2" fmla="*/ 606157 w 606157"/>
                  <a:gd name="connsiteY2" fmla="*/ 186562 h 606722"/>
                  <a:gd name="connsiteX3" fmla="*/ 606157 w 606157"/>
                  <a:gd name="connsiteY3" fmla="*/ 363939 h 606722"/>
                  <a:gd name="connsiteX4" fmla="*/ 584434 w 606157"/>
                  <a:gd name="connsiteY4" fmla="*/ 385711 h 606722"/>
                  <a:gd name="connsiteX5" fmla="*/ 557904 w 606157"/>
                  <a:gd name="connsiteY5" fmla="*/ 385711 h 606722"/>
                  <a:gd name="connsiteX6" fmla="*/ 549980 w 606157"/>
                  <a:gd name="connsiteY6" fmla="*/ 548781 h 606722"/>
                  <a:gd name="connsiteX7" fmla="*/ 489085 w 606157"/>
                  <a:gd name="connsiteY7" fmla="*/ 606722 h 606722"/>
                  <a:gd name="connsiteX8" fmla="*/ 426854 w 606157"/>
                  <a:gd name="connsiteY8" fmla="*/ 547537 h 606722"/>
                  <a:gd name="connsiteX9" fmla="*/ 420711 w 606157"/>
                  <a:gd name="connsiteY9" fmla="*/ 420814 h 606722"/>
                  <a:gd name="connsiteX10" fmla="*/ 461219 w 606157"/>
                  <a:gd name="connsiteY10" fmla="*/ 363228 h 606722"/>
                  <a:gd name="connsiteX11" fmla="*/ 461219 w 606157"/>
                  <a:gd name="connsiteY11" fmla="*/ 185762 h 606722"/>
                  <a:gd name="connsiteX12" fmla="*/ 451337 w 606157"/>
                  <a:gd name="connsiteY12" fmla="*/ 147905 h 606722"/>
                  <a:gd name="connsiteX13" fmla="*/ 38457 w 606157"/>
                  <a:gd name="connsiteY13" fmla="*/ 147552 h 606722"/>
                  <a:gd name="connsiteX14" fmla="*/ 155074 w 606157"/>
                  <a:gd name="connsiteY14" fmla="*/ 147552 h 606722"/>
                  <a:gd name="connsiteX15" fmla="*/ 145014 w 606157"/>
                  <a:gd name="connsiteY15" fmla="*/ 185766 h 606722"/>
                  <a:gd name="connsiteX16" fmla="*/ 145014 w 606157"/>
                  <a:gd name="connsiteY16" fmla="*/ 363239 h 606722"/>
                  <a:gd name="connsiteX17" fmla="*/ 187210 w 606157"/>
                  <a:gd name="connsiteY17" fmla="*/ 421360 h 606722"/>
                  <a:gd name="connsiteX18" fmla="*/ 181068 w 606157"/>
                  <a:gd name="connsiteY18" fmla="*/ 548444 h 606722"/>
                  <a:gd name="connsiteX19" fmla="*/ 120178 w 606157"/>
                  <a:gd name="connsiteY19" fmla="*/ 606298 h 606722"/>
                  <a:gd name="connsiteX20" fmla="*/ 57952 w 606157"/>
                  <a:gd name="connsiteY20" fmla="*/ 547200 h 606722"/>
                  <a:gd name="connsiteX21" fmla="*/ 50029 w 606157"/>
                  <a:gd name="connsiteY21" fmla="*/ 385279 h 606722"/>
                  <a:gd name="connsiteX22" fmla="*/ 21810 w 606157"/>
                  <a:gd name="connsiteY22" fmla="*/ 385279 h 606722"/>
                  <a:gd name="connsiteX23" fmla="*/ 0 w 606157"/>
                  <a:gd name="connsiteY23" fmla="*/ 363595 h 606722"/>
                  <a:gd name="connsiteX24" fmla="*/ 0 w 606157"/>
                  <a:gd name="connsiteY24" fmla="*/ 186122 h 606722"/>
                  <a:gd name="connsiteX25" fmla="*/ 38457 w 606157"/>
                  <a:gd name="connsiteY25" fmla="*/ 147552 h 606722"/>
                  <a:gd name="connsiteX26" fmla="*/ 222975 w 606157"/>
                  <a:gd name="connsiteY26" fmla="*/ 147058 h 606722"/>
                  <a:gd name="connsiteX27" fmla="*/ 282512 w 606157"/>
                  <a:gd name="connsiteY27" fmla="*/ 147058 h 606722"/>
                  <a:gd name="connsiteX28" fmla="*/ 270498 w 606157"/>
                  <a:gd name="connsiteY28" fmla="*/ 159057 h 606722"/>
                  <a:gd name="connsiteX29" fmla="*/ 270498 w 606157"/>
                  <a:gd name="connsiteY29" fmla="*/ 169278 h 606722"/>
                  <a:gd name="connsiteX30" fmla="*/ 283224 w 606157"/>
                  <a:gd name="connsiteY30" fmla="*/ 181988 h 606722"/>
                  <a:gd name="connsiteX31" fmla="*/ 273345 w 606157"/>
                  <a:gd name="connsiteY31" fmla="*/ 292199 h 606722"/>
                  <a:gd name="connsiteX32" fmla="*/ 276193 w 606157"/>
                  <a:gd name="connsiteY32" fmla="*/ 302953 h 606722"/>
                  <a:gd name="connsiteX33" fmla="*/ 297196 w 606157"/>
                  <a:gd name="connsiteY33" fmla="*/ 332550 h 606722"/>
                  <a:gd name="connsiteX34" fmla="*/ 303070 w 606157"/>
                  <a:gd name="connsiteY34" fmla="*/ 335572 h 606722"/>
                  <a:gd name="connsiteX35" fmla="*/ 309032 w 606157"/>
                  <a:gd name="connsiteY35" fmla="*/ 332550 h 606722"/>
                  <a:gd name="connsiteX36" fmla="*/ 329946 w 606157"/>
                  <a:gd name="connsiteY36" fmla="*/ 302953 h 606722"/>
                  <a:gd name="connsiteX37" fmla="*/ 332883 w 606157"/>
                  <a:gd name="connsiteY37" fmla="*/ 292199 h 606722"/>
                  <a:gd name="connsiteX38" fmla="*/ 323004 w 606157"/>
                  <a:gd name="connsiteY38" fmla="*/ 181988 h 606722"/>
                  <a:gd name="connsiteX39" fmla="*/ 335641 w 606157"/>
                  <a:gd name="connsiteY39" fmla="*/ 169278 h 606722"/>
                  <a:gd name="connsiteX40" fmla="*/ 335641 w 606157"/>
                  <a:gd name="connsiteY40" fmla="*/ 159057 h 606722"/>
                  <a:gd name="connsiteX41" fmla="*/ 323627 w 606157"/>
                  <a:gd name="connsiteY41" fmla="*/ 147058 h 606722"/>
                  <a:gd name="connsiteX42" fmla="*/ 385033 w 606157"/>
                  <a:gd name="connsiteY42" fmla="*/ 147058 h 606722"/>
                  <a:gd name="connsiteX43" fmla="*/ 385033 w 606157"/>
                  <a:gd name="connsiteY43" fmla="*/ 147147 h 606722"/>
                  <a:gd name="connsiteX44" fmla="*/ 421699 w 606157"/>
                  <a:gd name="connsiteY44" fmla="*/ 185721 h 606722"/>
                  <a:gd name="connsiteX45" fmla="*/ 421699 w 606157"/>
                  <a:gd name="connsiteY45" fmla="*/ 363214 h 606722"/>
                  <a:gd name="connsiteX46" fmla="*/ 399895 w 606157"/>
                  <a:gd name="connsiteY46" fmla="*/ 384901 h 606722"/>
                  <a:gd name="connsiteX47" fmla="*/ 373375 w 606157"/>
                  <a:gd name="connsiteY47" fmla="*/ 384901 h 606722"/>
                  <a:gd name="connsiteX48" fmla="*/ 371506 w 606157"/>
                  <a:gd name="connsiteY48" fmla="*/ 424363 h 606722"/>
                  <a:gd name="connsiteX49" fmla="*/ 365455 w 606157"/>
                  <a:gd name="connsiteY49" fmla="*/ 548084 h 606722"/>
                  <a:gd name="connsiteX50" fmla="*/ 304582 w 606157"/>
                  <a:gd name="connsiteY50" fmla="*/ 605945 h 606722"/>
                  <a:gd name="connsiteX51" fmla="*/ 242464 w 606157"/>
                  <a:gd name="connsiteY51" fmla="*/ 546840 h 606722"/>
                  <a:gd name="connsiteX52" fmla="*/ 236502 w 606157"/>
                  <a:gd name="connsiteY52" fmla="*/ 424363 h 606722"/>
                  <a:gd name="connsiteX53" fmla="*/ 234544 w 606157"/>
                  <a:gd name="connsiteY53" fmla="*/ 384901 h 606722"/>
                  <a:gd name="connsiteX54" fmla="*/ 206244 w 606157"/>
                  <a:gd name="connsiteY54" fmla="*/ 384901 h 606722"/>
                  <a:gd name="connsiteX55" fmla="*/ 184529 w 606157"/>
                  <a:gd name="connsiteY55" fmla="*/ 363214 h 606722"/>
                  <a:gd name="connsiteX56" fmla="*/ 184529 w 606157"/>
                  <a:gd name="connsiteY56" fmla="*/ 185721 h 606722"/>
                  <a:gd name="connsiteX57" fmla="*/ 222975 w 606157"/>
                  <a:gd name="connsiteY57" fmla="*/ 147058 h 606722"/>
                  <a:gd name="connsiteX58" fmla="*/ 488454 w 606157"/>
                  <a:gd name="connsiteY58" fmla="*/ 706 h 606722"/>
                  <a:gd name="connsiteX59" fmla="*/ 550481 w 606157"/>
                  <a:gd name="connsiteY59" fmla="*/ 62663 h 606722"/>
                  <a:gd name="connsiteX60" fmla="*/ 488454 w 606157"/>
                  <a:gd name="connsiteY60" fmla="*/ 124620 h 606722"/>
                  <a:gd name="connsiteX61" fmla="*/ 426427 w 606157"/>
                  <a:gd name="connsiteY61" fmla="*/ 62663 h 606722"/>
                  <a:gd name="connsiteX62" fmla="*/ 488454 w 606157"/>
                  <a:gd name="connsiteY62" fmla="*/ 706 h 606722"/>
                  <a:gd name="connsiteX63" fmla="*/ 119538 w 606157"/>
                  <a:gd name="connsiteY63" fmla="*/ 353 h 606722"/>
                  <a:gd name="connsiteX64" fmla="*/ 181565 w 606157"/>
                  <a:gd name="connsiteY64" fmla="*/ 62310 h 606722"/>
                  <a:gd name="connsiteX65" fmla="*/ 119538 w 606157"/>
                  <a:gd name="connsiteY65" fmla="*/ 124267 h 606722"/>
                  <a:gd name="connsiteX66" fmla="*/ 57511 w 606157"/>
                  <a:gd name="connsiteY66" fmla="*/ 62310 h 606722"/>
                  <a:gd name="connsiteX67" fmla="*/ 119538 w 606157"/>
                  <a:gd name="connsiteY67" fmla="*/ 353 h 606722"/>
                  <a:gd name="connsiteX68" fmla="*/ 303961 w 606157"/>
                  <a:gd name="connsiteY68" fmla="*/ 0 h 606722"/>
                  <a:gd name="connsiteX69" fmla="*/ 366024 w 606157"/>
                  <a:gd name="connsiteY69" fmla="*/ 61957 h 606722"/>
                  <a:gd name="connsiteX70" fmla="*/ 303961 w 606157"/>
                  <a:gd name="connsiteY70" fmla="*/ 123914 h 606722"/>
                  <a:gd name="connsiteX71" fmla="*/ 241898 w 606157"/>
                  <a:gd name="connsiteY71" fmla="*/ 61957 h 606722"/>
                  <a:gd name="connsiteX72" fmla="*/ 303961 w 606157"/>
                  <a:gd name="connsiteY72"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06157" h="606722">
                    <a:moveTo>
                      <a:pt x="451337" y="147905"/>
                    </a:moveTo>
                    <a:lnTo>
                      <a:pt x="569477" y="147905"/>
                    </a:lnTo>
                    <a:cubicBezTo>
                      <a:pt x="589954" y="148971"/>
                      <a:pt x="606157" y="165856"/>
                      <a:pt x="606157" y="186562"/>
                    </a:cubicBezTo>
                    <a:lnTo>
                      <a:pt x="606157" y="363939"/>
                    </a:lnTo>
                    <a:cubicBezTo>
                      <a:pt x="606157" y="375936"/>
                      <a:pt x="596453" y="385711"/>
                      <a:pt x="584434" y="385711"/>
                    </a:cubicBezTo>
                    <a:lnTo>
                      <a:pt x="557904" y="385711"/>
                    </a:lnTo>
                    <a:lnTo>
                      <a:pt x="549980" y="548781"/>
                    </a:lnTo>
                    <a:cubicBezTo>
                      <a:pt x="548378" y="581217"/>
                      <a:pt x="521580" y="606722"/>
                      <a:pt x="489085" y="606722"/>
                    </a:cubicBezTo>
                    <a:cubicBezTo>
                      <a:pt x="455877" y="606722"/>
                      <a:pt x="428456" y="580684"/>
                      <a:pt x="426854" y="547537"/>
                    </a:cubicBezTo>
                    <a:lnTo>
                      <a:pt x="420711" y="420814"/>
                    </a:lnTo>
                    <a:cubicBezTo>
                      <a:pt x="444482" y="412194"/>
                      <a:pt x="461219" y="389355"/>
                      <a:pt x="461219" y="363228"/>
                    </a:cubicBezTo>
                    <a:lnTo>
                      <a:pt x="461219" y="185762"/>
                    </a:lnTo>
                    <a:cubicBezTo>
                      <a:pt x="461219" y="172077"/>
                      <a:pt x="457658" y="159102"/>
                      <a:pt x="451337" y="147905"/>
                    </a:cubicBezTo>
                    <a:close/>
                    <a:moveTo>
                      <a:pt x="38457" y="147552"/>
                    </a:moveTo>
                    <a:lnTo>
                      <a:pt x="155074" y="147552"/>
                    </a:lnTo>
                    <a:cubicBezTo>
                      <a:pt x="148664" y="158839"/>
                      <a:pt x="145014" y="171902"/>
                      <a:pt x="145014" y="185766"/>
                    </a:cubicBezTo>
                    <a:lnTo>
                      <a:pt x="145014" y="363239"/>
                    </a:lnTo>
                    <a:cubicBezTo>
                      <a:pt x="145014" y="389811"/>
                      <a:pt x="162284" y="413184"/>
                      <a:pt x="187210" y="421360"/>
                    </a:cubicBezTo>
                    <a:lnTo>
                      <a:pt x="181068" y="548444"/>
                    </a:lnTo>
                    <a:cubicBezTo>
                      <a:pt x="179465" y="580881"/>
                      <a:pt x="152670" y="606298"/>
                      <a:pt x="120178" y="606298"/>
                    </a:cubicBezTo>
                    <a:cubicBezTo>
                      <a:pt x="86973" y="606298"/>
                      <a:pt x="59555" y="580348"/>
                      <a:pt x="57952" y="547200"/>
                    </a:cubicBezTo>
                    <a:lnTo>
                      <a:pt x="50029" y="385279"/>
                    </a:lnTo>
                    <a:lnTo>
                      <a:pt x="21810" y="385279"/>
                    </a:lnTo>
                    <a:cubicBezTo>
                      <a:pt x="9792" y="385279"/>
                      <a:pt x="0" y="375592"/>
                      <a:pt x="0" y="363595"/>
                    </a:cubicBezTo>
                    <a:lnTo>
                      <a:pt x="0" y="186122"/>
                    </a:lnTo>
                    <a:cubicBezTo>
                      <a:pt x="0" y="164882"/>
                      <a:pt x="17181" y="147641"/>
                      <a:pt x="38457" y="147552"/>
                    </a:cubicBezTo>
                    <a:close/>
                    <a:moveTo>
                      <a:pt x="222975" y="147058"/>
                    </a:moveTo>
                    <a:lnTo>
                      <a:pt x="282512" y="147058"/>
                    </a:lnTo>
                    <a:lnTo>
                      <a:pt x="270498" y="159057"/>
                    </a:lnTo>
                    <a:cubicBezTo>
                      <a:pt x="267739" y="161901"/>
                      <a:pt x="267739" y="166523"/>
                      <a:pt x="270498" y="169278"/>
                    </a:cubicBezTo>
                    <a:lnTo>
                      <a:pt x="283224" y="181988"/>
                    </a:lnTo>
                    <a:lnTo>
                      <a:pt x="273345" y="292199"/>
                    </a:lnTo>
                    <a:cubicBezTo>
                      <a:pt x="272989" y="296021"/>
                      <a:pt x="274057" y="299754"/>
                      <a:pt x="276193" y="302953"/>
                    </a:cubicBezTo>
                    <a:lnTo>
                      <a:pt x="297196" y="332550"/>
                    </a:lnTo>
                    <a:cubicBezTo>
                      <a:pt x="298531" y="334417"/>
                      <a:pt x="300756" y="335572"/>
                      <a:pt x="303070" y="335572"/>
                    </a:cubicBezTo>
                    <a:cubicBezTo>
                      <a:pt x="305472" y="335572"/>
                      <a:pt x="307608" y="334417"/>
                      <a:pt x="309032" y="332550"/>
                    </a:cubicBezTo>
                    <a:lnTo>
                      <a:pt x="329946" y="302953"/>
                    </a:lnTo>
                    <a:cubicBezTo>
                      <a:pt x="332171" y="299754"/>
                      <a:pt x="333239" y="296021"/>
                      <a:pt x="332883" y="292199"/>
                    </a:cubicBezTo>
                    <a:lnTo>
                      <a:pt x="323004" y="181988"/>
                    </a:lnTo>
                    <a:lnTo>
                      <a:pt x="335641" y="169278"/>
                    </a:lnTo>
                    <a:cubicBezTo>
                      <a:pt x="338489" y="166523"/>
                      <a:pt x="338489" y="161901"/>
                      <a:pt x="335641" y="159057"/>
                    </a:cubicBezTo>
                    <a:lnTo>
                      <a:pt x="323627" y="147058"/>
                    </a:lnTo>
                    <a:lnTo>
                      <a:pt x="385033" y="147058"/>
                    </a:lnTo>
                    <a:lnTo>
                      <a:pt x="385033" y="147147"/>
                    </a:lnTo>
                    <a:cubicBezTo>
                      <a:pt x="405413" y="148214"/>
                      <a:pt x="421699" y="165101"/>
                      <a:pt x="421699" y="185721"/>
                    </a:cubicBezTo>
                    <a:lnTo>
                      <a:pt x="421699" y="363214"/>
                    </a:lnTo>
                    <a:cubicBezTo>
                      <a:pt x="421699" y="375213"/>
                      <a:pt x="411910" y="384901"/>
                      <a:pt x="399895" y="384901"/>
                    </a:cubicBezTo>
                    <a:lnTo>
                      <a:pt x="373375" y="384901"/>
                    </a:lnTo>
                    <a:lnTo>
                      <a:pt x="371506" y="424363"/>
                    </a:lnTo>
                    <a:lnTo>
                      <a:pt x="365455" y="548084"/>
                    </a:lnTo>
                    <a:cubicBezTo>
                      <a:pt x="363853" y="580525"/>
                      <a:pt x="337154" y="605945"/>
                      <a:pt x="304582" y="605945"/>
                    </a:cubicBezTo>
                    <a:cubicBezTo>
                      <a:pt x="271388" y="605945"/>
                      <a:pt x="244066" y="579903"/>
                      <a:pt x="242464" y="546840"/>
                    </a:cubicBezTo>
                    <a:lnTo>
                      <a:pt x="236502" y="424363"/>
                    </a:lnTo>
                    <a:lnTo>
                      <a:pt x="234544" y="384901"/>
                    </a:lnTo>
                    <a:lnTo>
                      <a:pt x="206244" y="384901"/>
                    </a:lnTo>
                    <a:cubicBezTo>
                      <a:pt x="194229" y="384901"/>
                      <a:pt x="184529" y="375213"/>
                      <a:pt x="184529" y="363214"/>
                    </a:cubicBezTo>
                    <a:lnTo>
                      <a:pt x="184529" y="185721"/>
                    </a:lnTo>
                    <a:cubicBezTo>
                      <a:pt x="184529" y="164479"/>
                      <a:pt x="201705" y="147236"/>
                      <a:pt x="222975" y="147058"/>
                    </a:cubicBezTo>
                    <a:close/>
                    <a:moveTo>
                      <a:pt x="488454" y="706"/>
                    </a:moveTo>
                    <a:cubicBezTo>
                      <a:pt x="522711" y="706"/>
                      <a:pt x="550481" y="28445"/>
                      <a:pt x="550481" y="62663"/>
                    </a:cubicBezTo>
                    <a:cubicBezTo>
                      <a:pt x="550481" y="96881"/>
                      <a:pt x="522711" y="124620"/>
                      <a:pt x="488454" y="124620"/>
                    </a:cubicBezTo>
                    <a:cubicBezTo>
                      <a:pt x="454197" y="124620"/>
                      <a:pt x="426427" y="96881"/>
                      <a:pt x="426427" y="62663"/>
                    </a:cubicBezTo>
                    <a:cubicBezTo>
                      <a:pt x="426427" y="28445"/>
                      <a:pt x="454197" y="706"/>
                      <a:pt x="488454" y="706"/>
                    </a:cubicBezTo>
                    <a:close/>
                    <a:moveTo>
                      <a:pt x="119538" y="353"/>
                    </a:moveTo>
                    <a:cubicBezTo>
                      <a:pt x="153795" y="353"/>
                      <a:pt x="181565" y="28092"/>
                      <a:pt x="181565" y="62310"/>
                    </a:cubicBezTo>
                    <a:cubicBezTo>
                      <a:pt x="181565" y="96528"/>
                      <a:pt x="153795" y="124267"/>
                      <a:pt x="119538" y="124267"/>
                    </a:cubicBezTo>
                    <a:cubicBezTo>
                      <a:pt x="85281" y="124267"/>
                      <a:pt x="57511" y="96528"/>
                      <a:pt x="57511" y="62310"/>
                    </a:cubicBezTo>
                    <a:cubicBezTo>
                      <a:pt x="57511" y="28092"/>
                      <a:pt x="85281" y="353"/>
                      <a:pt x="119538" y="353"/>
                    </a:cubicBezTo>
                    <a:close/>
                    <a:moveTo>
                      <a:pt x="303961" y="0"/>
                    </a:moveTo>
                    <a:cubicBezTo>
                      <a:pt x="338237" y="0"/>
                      <a:pt x="366024" y="27739"/>
                      <a:pt x="366024" y="61957"/>
                    </a:cubicBezTo>
                    <a:cubicBezTo>
                      <a:pt x="366024" y="96175"/>
                      <a:pt x="338237" y="123914"/>
                      <a:pt x="303961" y="123914"/>
                    </a:cubicBezTo>
                    <a:cubicBezTo>
                      <a:pt x="269685" y="123914"/>
                      <a:pt x="241898" y="96175"/>
                      <a:pt x="241898" y="61957"/>
                    </a:cubicBezTo>
                    <a:cubicBezTo>
                      <a:pt x="241898" y="27739"/>
                      <a:pt x="269685" y="0"/>
                      <a:pt x="303961" y="0"/>
                    </a:cubicBezTo>
                    <a:close/>
                  </a:path>
                </a:pathLst>
              </a:custGeom>
              <a:solidFill>
                <a:schemeClr val="tx1">
                  <a:lumMod val="50000"/>
                  <a:lumOff val="50000"/>
                </a:schemeClr>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97155" y="596265"/>
            <a:ext cx="10928985" cy="368935"/>
          </a:xfrm>
        </p:spPr>
        <p:txBody>
          <a:bodyPr wrap="square"/>
          <a:lstStyle/>
          <a:p>
            <a:r>
              <a:rPr lang="zh-CN" altLang="en-US" sz="2400" dirty="0"/>
              <a:t>四、</a:t>
            </a:r>
            <a:r>
              <a:rPr lang="zh-CN" altLang="en-US" sz="2400" dirty="0"/>
              <a:t>珠海市“四位一体”融资平台信贷风险补偿及贷款贴息实施细则总结表</a:t>
            </a:r>
            <a:endParaRPr lang="zh-CN" altLang="en-US" sz="2400" dirty="0"/>
          </a:p>
        </p:txBody>
      </p:sp>
      <p:graphicFrame>
        <p:nvGraphicFramePr>
          <p:cNvPr id="5" name="表格 4"/>
          <p:cNvGraphicFramePr>
            <a:graphicFrameLocks noGrp="1"/>
          </p:cNvGraphicFramePr>
          <p:nvPr/>
        </p:nvGraphicFramePr>
        <p:xfrm>
          <a:off x="97155" y="1165225"/>
          <a:ext cx="11434445" cy="5248910"/>
        </p:xfrm>
        <a:graphic>
          <a:graphicData uri="http://schemas.openxmlformats.org/drawingml/2006/table">
            <a:tbl>
              <a:tblPr/>
              <a:tblGrid>
                <a:gridCol w="1336040"/>
                <a:gridCol w="1666875"/>
                <a:gridCol w="2403475"/>
                <a:gridCol w="2541905"/>
                <a:gridCol w="3486150"/>
              </a:tblGrid>
              <a:tr h="623570">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贷款项目名称</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支持对象</a:t>
                      </a:r>
                      <a:endPar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政府风险补偿金承担责任及贴息</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推出对应产品的合作机构及联系方式</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说明</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77060">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一、信用贷款</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我市战略性新兴产业的中小微企业</a:t>
                      </a:r>
                      <a:endPar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按贷款本金损失的</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给予合作机构补偿单个企业年度项目补偿金额最高不超过</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a:t>
                      </a:r>
                      <a:endPar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有贴息。按贷款项目最高不超过当期基准利率利息的</a:t>
                      </a:r>
                      <a:r>
                        <a:rPr lang="en-US" altLang="zh-CN" sz="1200" dirty="0">
                          <a:solidFill>
                            <a:srgbClr val="FF0000"/>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给予贴息，单个企业年度贴息金额最高不超过</a:t>
                      </a:r>
                      <a:r>
                        <a:rPr lang="en-US" altLang="zh-CN" sz="1200" dirty="0">
                          <a:solidFill>
                            <a:srgbClr val="FF0000"/>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万元</a:t>
                      </a:r>
                      <a:endParaRPr lang="zh-CN" altLang="en-US" sz="12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2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光大银行 张振文</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13727079919</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中国银行 李冠九</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18928006292</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邮储银行 张卓彬15014904008</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农商行 廖珣</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13926960986</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适合高新技术、且无资产抵押的企业，额度在</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0-500</a:t>
                      </a: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万不等，贴息后综合融资成本在</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2.5-3%</a:t>
                      </a: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随借随还，方式灵活。</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57780">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二、担保（保险）贷款</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我市中小微企业</a:t>
                      </a:r>
                      <a:r>
                        <a:rPr 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房地产企业除外）。重点支持对象：高新技术企业、软件企业及市民营科技型企业、创新型企业等的科技型中小微企业；生产制造业的中小微企业；先进装备制造业、战略新兴产业的中小微企业；为大型企业提供加工、销售、原材料和零配件供应配套的中小微企业；创新创业、促进城乡居民就业、商贸物流型的中小微企业；市区两级培育千家成长性好中小企业清单目录内的企业；三农及实体经济的中</a:t>
                      </a:r>
                      <a:r>
                        <a:rPr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小微企业；市政府重点关注和扶持的其他民营及中小微企业</a:t>
                      </a:r>
                      <a:r>
                        <a:rPr 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a:t>
                      </a:r>
                      <a:endParaRPr 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按贷款本金损失的</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给予合作机构</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补偿，单个企业年度项目政府风险补偿金额最高不超过</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有贴息：</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按贷款项目最高不超过当期基准利率利息的</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给予贴息，单个企业年度贴息金额最高不超过</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有补助：</a:t>
                      </a:r>
                      <a:r>
                        <a:rPr lang="en-US" altLang="zh-CN" sz="1200" dirty="0">
                          <a:solidFill>
                            <a:srgbClr val="FF0000"/>
                          </a:solidFill>
                          <a:effectLst/>
                          <a:latin typeface="思源黑体 CN Medium" panose="020B0600000000000000" pitchFamily="34" charset="-122"/>
                          <a:ea typeface="思源黑体 CN Medium" panose="020B0600000000000000" pitchFamily="34" charset="-122"/>
                          <a:sym typeface="+mn-ea"/>
                        </a:rPr>
                        <a:t>2</a:t>
                      </a: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担保费补贴：对通过融资担保机构担保获得合作银行、</a:t>
                      </a:r>
                      <a:endParaRPr lang="en-US" altLang="zh-CN" sz="12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小额贷款公司贷款的中小微企业给予担保费补贴，按实际发生担</a:t>
                      </a:r>
                      <a:endParaRPr lang="en-US" altLang="zh-CN" sz="12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保费用的</a:t>
                      </a:r>
                      <a:r>
                        <a:rPr lang="en-US" altLang="zh-CN" sz="1200" dirty="0">
                          <a:solidFill>
                            <a:srgbClr val="FF0000"/>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给予补贴，单个企业年度担保补贴金额最高不超过</a:t>
                      </a:r>
                      <a:r>
                        <a:rPr lang="en-US" altLang="zh-CN" sz="1200" dirty="0">
                          <a:solidFill>
                            <a:srgbClr val="FF0000"/>
                          </a:solidFill>
                          <a:effectLst/>
                          <a:latin typeface="思源黑体 CN Medium" panose="020B0600000000000000" pitchFamily="34" charset="-122"/>
                          <a:ea typeface="思源黑体 CN Medium" panose="020B0600000000000000" pitchFamily="34" charset="-122"/>
                          <a:sym typeface="+mn-ea"/>
                        </a:rPr>
                        <a:t>20</a:t>
                      </a: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万元</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粤财担保   </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张庆红  13926990036</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银达担保   祝利勇  </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18928032063</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农业担保   罗  闽  </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13824150863</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适合有资产，想获得更多贷款的企业，一般为</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1-3</a:t>
                      </a: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年期，</a:t>
                      </a: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贴息、贴保费后综合融资成本在</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4-5%</a:t>
                      </a: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左右。如通过担保公司在农商行、兴业银行获得的担保贷可使用转贷资金过桥，缓解企业到期还款压力。</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97155" y="596265"/>
            <a:ext cx="10928985" cy="368935"/>
          </a:xfrm>
        </p:spPr>
        <p:txBody>
          <a:bodyPr wrap="square"/>
          <a:lstStyle/>
          <a:p>
            <a:r>
              <a:rPr lang="zh-CN" altLang="en-US" sz="2400" dirty="0"/>
              <a:t>四、</a:t>
            </a:r>
            <a:r>
              <a:rPr lang="zh-CN" altLang="en-US" sz="2400" dirty="0"/>
              <a:t>珠海市“四位一体”融资平台信贷风险补偿及贷款贴息实施细则总结表</a:t>
            </a:r>
            <a:endParaRPr lang="zh-CN" altLang="en-US" sz="2400" dirty="0"/>
          </a:p>
        </p:txBody>
      </p:sp>
      <p:graphicFrame>
        <p:nvGraphicFramePr>
          <p:cNvPr id="5" name="表格 4"/>
          <p:cNvGraphicFramePr>
            <a:graphicFrameLocks noGrp="1"/>
          </p:cNvGraphicFramePr>
          <p:nvPr/>
        </p:nvGraphicFramePr>
        <p:xfrm>
          <a:off x="97155" y="1193165"/>
          <a:ext cx="11434445" cy="4622165"/>
        </p:xfrm>
        <a:graphic>
          <a:graphicData uri="http://schemas.openxmlformats.org/drawingml/2006/table">
            <a:tbl>
              <a:tblPr/>
              <a:tblGrid>
                <a:gridCol w="1336040"/>
                <a:gridCol w="1666875"/>
                <a:gridCol w="2235835"/>
                <a:gridCol w="2858770"/>
                <a:gridCol w="3336925"/>
              </a:tblGrid>
              <a:tr h="428429">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贷款项目名称</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支持对象</a:t>
                      </a:r>
                      <a:endPar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政府风险补偿金承担责任及贴息</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推出对应产品的合作机构及联系方式</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说明</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710">
                <a:tc>
                  <a:txBody>
                    <a:bodyPr/>
                    <a:lstStyle/>
                    <a:p>
                      <a:pPr algn="ctr" fontAlgn="ctr"/>
                      <a:r>
                        <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三、支小贷款</a:t>
                      </a:r>
                      <a:endPar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获得地方法人银行机构（</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4</a:t>
                      </a: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家</a:t>
                      </a:r>
                      <a:r>
                        <a:rPr 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的贷款。</a:t>
                      </a:r>
                      <a:r>
                        <a:rPr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人民银行珠海市中心支行向珠海市法人银行机构发放的，用于支持银行机构发放小微企业贷款的资金</a:t>
                      </a:r>
                      <a:endParaRPr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按贷款本金损失的</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给予</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合作机构补偿，单个企业年度</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项目补偿金额最高不超过</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a:t>
                      </a:r>
                      <a:endPar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有贴息。按贷款项目最高不超过当期基准利率利息的</a:t>
                      </a:r>
                      <a:r>
                        <a:rPr lang="en-US" altLang="zh-CN" sz="1200" dirty="0">
                          <a:solidFill>
                            <a:srgbClr val="FF0000"/>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给予贴息，单个企业年度贴息金额最高不超过</a:t>
                      </a:r>
                      <a:r>
                        <a:rPr lang="en-US" altLang="zh-CN" sz="1200" dirty="0">
                          <a:solidFill>
                            <a:srgbClr val="FF0000"/>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万元</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农商银行 廖珣</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3926960986</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华润银行叶育华</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3425081898</a:t>
                      </a:r>
                      <a:endPar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南屏村镇银行 劳惠英</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3809807411</a:t>
                      </a:r>
                      <a:endPar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横琴村镇银行 常旋</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802531661</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贴息后综合融资成本在</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2.5-3%</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随借随还，方式灵活。</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91590">
                <a:tc>
                  <a:txBody>
                    <a:bodyPr/>
                    <a:lstStyle/>
                    <a:p>
                      <a:pPr algn="ctr" fontAlgn="ctr"/>
                      <a:r>
                        <a:rPr 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四、产业发展贷</a:t>
                      </a:r>
                      <a:endParaRPr 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a:t>
                      </a: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珠海市产业发展导向目录</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中优先发展类和</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鼓励发展类企业</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按贷款本金损失的</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给予合作</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机构补偿，单个企业年度项目</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补偿金额最高不超过</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a:t>
                      </a:r>
                      <a:endPar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无贴息</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所有银行</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0879">
                <a:tc>
                  <a:txBody>
                    <a:bodyPr/>
                    <a:lstStyle/>
                    <a:p>
                      <a:pPr algn="ctr" fontAlgn="ctr"/>
                      <a:r>
                        <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五、技改贷</a:t>
                      </a:r>
                      <a:endPar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工业技术改造贷款项目是省市共建项目，对在珠海市技术改造备案项目名单内且贷款利率不超过基准利率 </a:t>
                      </a:r>
                      <a:r>
                        <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1.3 </a:t>
                      </a: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倍（含）</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按照实际贷款本金损失的</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给予合作机构补偿，单个企业年度</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项目补偿金额最高不超过</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0</a:t>
                      </a: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a:t>
                      </a:r>
                      <a:endPar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200" dirty="0">
                          <a:solidFill>
                            <a:srgbClr val="FF0000"/>
                          </a:solidFill>
                          <a:effectLst/>
                          <a:latin typeface="思源黑体 CN Medium" panose="020B0600000000000000" pitchFamily="34" charset="-122"/>
                          <a:ea typeface="思源黑体 CN Medium" panose="020B0600000000000000" pitchFamily="34" charset="-122"/>
                          <a:sym typeface="+mn-ea"/>
                        </a:rPr>
                        <a:t>无贴息</a:t>
                      </a:r>
                      <a:endParaRPr lang="zh-CN" altLang="en-US" sz="12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2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2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农商银行 廖珣</a:t>
                      </a:r>
                      <a:r>
                        <a:rPr lang="en-US" altLang="zh-CN"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3926960986</a:t>
                      </a:r>
                      <a:endParaRPr lang="en-US" altLang="zh-CN"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有技改需要的企业，利息较低。</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349885" y="577850"/>
            <a:ext cx="10928985" cy="368935"/>
          </a:xfrm>
        </p:spPr>
        <p:txBody>
          <a:bodyPr wrap="square"/>
          <a:lstStyle/>
          <a:p>
            <a:r>
              <a:rPr lang="zh-CN" altLang="en-US" sz="2400" dirty="0"/>
              <a:t>四、</a:t>
            </a:r>
            <a:r>
              <a:rPr lang="zh-CN" altLang="en-US" sz="2400" dirty="0"/>
              <a:t>珠海市“四位一体”融资平台信贷风险补偿及贷款贴息实施细则总结表</a:t>
            </a:r>
            <a:endParaRPr lang="zh-CN" altLang="en-US" sz="2400" dirty="0"/>
          </a:p>
        </p:txBody>
      </p:sp>
      <p:graphicFrame>
        <p:nvGraphicFramePr>
          <p:cNvPr id="5" name="表格 4"/>
          <p:cNvGraphicFramePr>
            <a:graphicFrameLocks noGrp="1"/>
          </p:cNvGraphicFramePr>
          <p:nvPr/>
        </p:nvGraphicFramePr>
        <p:xfrm>
          <a:off x="266965" y="1155722"/>
          <a:ext cx="11434550" cy="5473700"/>
        </p:xfrm>
        <a:graphic>
          <a:graphicData uri="http://schemas.openxmlformats.org/drawingml/2006/table">
            <a:tbl>
              <a:tblPr/>
              <a:tblGrid>
                <a:gridCol w="1335775"/>
                <a:gridCol w="1666875"/>
                <a:gridCol w="2291080"/>
                <a:gridCol w="2886710"/>
                <a:gridCol w="3254110"/>
              </a:tblGrid>
              <a:tr h="539750">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贷款项目名称</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支持对象</a:t>
                      </a:r>
                      <a:endParaRPr lang="zh-CN" altLang="en-US" sz="12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政府风险补偿金承担责任及贴息</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推出对应产品的合作机构及联系方式</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说明</a:t>
                      </a:r>
                      <a:endParaRPr lang="zh-CN" altLang="en-US" sz="12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58290">
                <a:tc>
                  <a:txBody>
                    <a:bodyPr/>
                    <a:lstStyle/>
                    <a:p>
                      <a:pPr algn="ctr" fontAlgn="ctr"/>
                      <a:r>
                        <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新增</a:t>
                      </a:r>
                      <a:r>
                        <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a:t>
                      </a:r>
                      <a:r>
                        <a:rPr lang="en-US" altLang="zh-CN"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a:t>
                      </a:r>
                      <a:r>
                        <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暖企十条</a:t>
                      </a:r>
                      <a:r>
                        <a:rPr lang="en-US" altLang="zh-CN"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a:t>
                      </a:r>
                      <a:r>
                        <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防疫贷</a:t>
                      </a:r>
                      <a:endPar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纳入防疫类企业</a:t>
                      </a:r>
                      <a:endParaRPr 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按照实际贷款本金损失的</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l"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给予合作机构补偿，单个企业年度</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l"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项目补偿金额最高不超过</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500</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a:t>
                      </a:r>
                      <a:endPar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p>
                      <a:pPr algn="l" fontAlgn="ctr"/>
                      <a:r>
                        <a:rPr lang="zh-CN" altLang="en-US" sz="1000" dirty="0">
                          <a:solidFill>
                            <a:srgbClr val="FF0000"/>
                          </a:solidFill>
                          <a:effectLst/>
                          <a:latin typeface="思源黑体 CN Medium" panose="020B0600000000000000" pitchFamily="34" charset="-122"/>
                          <a:ea typeface="思源黑体 CN Medium" panose="020B0600000000000000" pitchFamily="34" charset="-122"/>
                          <a:sym typeface="+mn-ea"/>
                        </a:rPr>
                        <a:t>有贴息。按贷款项目最高不超过当期</a:t>
                      </a:r>
                      <a:r>
                        <a:rPr lang="en-US" altLang="zh-CN" sz="1000" dirty="0">
                          <a:solidFill>
                            <a:srgbClr val="FF0000"/>
                          </a:solidFill>
                          <a:effectLst/>
                          <a:latin typeface="思源黑体 CN Medium" panose="020B0600000000000000" pitchFamily="34" charset="-122"/>
                          <a:ea typeface="思源黑体 CN Medium" panose="020B0600000000000000" pitchFamily="34" charset="-122"/>
                          <a:sym typeface="+mn-ea"/>
                        </a:rPr>
                        <a:t>LPR</a:t>
                      </a:r>
                      <a:r>
                        <a:rPr lang="zh-CN" altLang="en-US" sz="1000" dirty="0">
                          <a:solidFill>
                            <a:srgbClr val="FF0000"/>
                          </a:solidFill>
                          <a:effectLst/>
                          <a:latin typeface="思源黑体 CN Medium" panose="020B0600000000000000" pitchFamily="34" charset="-122"/>
                          <a:ea typeface="思源黑体 CN Medium" panose="020B0600000000000000" pitchFamily="34" charset="-122"/>
                          <a:sym typeface="+mn-ea"/>
                        </a:rPr>
                        <a:t>利率利息的</a:t>
                      </a:r>
                      <a:r>
                        <a:rPr lang="en-US" altLang="zh-CN" sz="1000" dirty="0">
                          <a:solidFill>
                            <a:srgbClr val="FF0000"/>
                          </a:solidFill>
                          <a:effectLst/>
                          <a:latin typeface="思源黑体 CN Medium" panose="020B0600000000000000" pitchFamily="34" charset="-122"/>
                          <a:ea typeface="思源黑体 CN Medium" panose="020B0600000000000000" pitchFamily="34" charset="-122"/>
                          <a:sym typeface="+mn-ea"/>
                        </a:rPr>
                        <a:t>50%</a:t>
                      </a:r>
                      <a:r>
                        <a:rPr lang="zh-CN" altLang="en-US" sz="1000" dirty="0">
                          <a:solidFill>
                            <a:srgbClr val="FF0000"/>
                          </a:solidFill>
                          <a:effectLst/>
                          <a:latin typeface="思源黑体 CN Medium" panose="020B0600000000000000" pitchFamily="34" charset="-122"/>
                          <a:ea typeface="思源黑体 CN Medium" panose="020B0600000000000000" pitchFamily="34" charset="-122"/>
                          <a:sym typeface="+mn-ea"/>
                        </a:rPr>
                        <a:t>给予贴息，单个企业年度贴息金额最高不超过</a:t>
                      </a:r>
                      <a:r>
                        <a:rPr lang="en-US" altLang="zh-CN" sz="1000" dirty="0">
                          <a:solidFill>
                            <a:srgbClr val="FF0000"/>
                          </a:solidFill>
                          <a:effectLst/>
                          <a:latin typeface="思源黑体 CN Medium" panose="020B0600000000000000" pitchFamily="34" charset="-122"/>
                          <a:ea typeface="思源黑体 CN Medium" panose="020B0600000000000000" pitchFamily="34" charset="-122"/>
                          <a:sym typeface="+mn-ea"/>
                        </a:rPr>
                        <a:t>50</a:t>
                      </a:r>
                      <a:r>
                        <a:rPr lang="zh-CN" altLang="en-US" sz="1000" dirty="0">
                          <a:solidFill>
                            <a:srgbClr val="FF0000"/>
                          </a:solidFill>
                          <a:effectLst/>
                          <a:latin typeface="思源黑体 CN Medium" panose="020B0600000000000000" pitchFamily="34" charset="-122"/>
                          <a:ea typeface="思源黑体 CN Medium" panose="020B0600000000000000" pitchFamily="34" charset="-122"/>
                          <a:sym typeface="+mn-ea"/>
                        </a:rPr>
                        <a:t>万元，只贴一年。</a:t>
                      </a:r>
                      <a:endPar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endPar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光大银行 张振文 </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3727079919</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中国银行 李冠九 </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8928006292</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邮储银行 张卓彬 15014904008</a:t>
                      </a:r>
                      <a:endPar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  农商行 廖  珣 </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3926960986</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0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贴息后综合融资成本在</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2.5-3%</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随借随还，方式灵活。</a:t>
                      </a:r>
                      <a:endPar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endPar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7885">
                <a:tc>
                  <a:txBody>
                    <a:bodyPr/>
                    <a:lstStyle/>
                    <a:p>
                      <a:pPr algn="ctr" fontAlgn="ctr"/>
                      <a:r>
                        <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六、转贷过桥</a:t>
                      </a:r>
                      <a:r>
                        <a:rPr lang="en-US" altLang="zh-CN"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1</a:t>
                      </a:r>
                      <a:endParaRPr lang="en-US" altLang="zh-CN"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纳入</a:t>
                      </a:r>
                      <a:r>
                        <a:rPr lang="en-US" altLang="zh-CN"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a:t>
                      </a:r>
                      <a:r>
                        <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四位一体</a:t>
                      </a:r>
                      <a:r>
                        <a:rPr lang="en-US" altLang="zh-CN"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a:t>
                      </a:r>
                      <a:r>
                        <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且在农商、兴业有贷款的企业</a:t>
                      </a:r>
                      <a:endPar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收费：本资金使用时间叁天（含）之内为一次，按转贷</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金额的</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5‰/</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次收取，少于叁天的按一次性收取费用</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对资金占用超</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出叁天的，按转贷金额</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0.5‰/</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天收取费用</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资金使用时间原则上不超过</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0</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个工作日，且单笔金额原则上不低于</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00</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不超过</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500</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如企业使用</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00</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的政府转贷资金，使用期如果在</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3</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天内，</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华金公司收取</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500</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元的服务费</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a:t>
                      </a:r>
                      <a:endPar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华金  刘波 </a:t>
                      </a:r>
                      <a:r>
                        <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13326619153</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市财政和珠海华金普惠</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公司以</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比例共同出资</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组建</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6000</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万元转贷资金池</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l" fontAlgn="ct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47775">
                <a:tc>
                  <a:txBody>
                    <a:bodyPr/>
                    <a:lstStyle/>
                    <a:p>
                      <a:pPr algn="ctr" fontAlgn="ctr"/>
                      <a:r>
                        <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六、转贷过桥</a:t>
                      </a:r>
                      <a:r>
                        <a:rPr lang="en-US" altLang="zh-CN"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rPr>
                        <a:t>2</a:t>
                      </a:r>
                      <a:endParaRPr lang="en-US" altLang="zh-CN"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纳入</a:t>
                      </a:r>
                      <a:r>
                        <a:rPr lang="en-US" altLang="zh-CN" sz="100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a:t>
                      </a:r>
                      <a:r>
                        <a:rPr lang="zh-CN" altLang="en-US" sz="100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四位一体</a:t>
                      </a:r>
                      <a:r>
                        <a:rPr lang="en-US" altLang="zh-CN" sz="100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a:t>
                      </a:r>
                      <a:r>
                        <a:rPr lang="zh-CN" altLang="en-US" sz="100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且在农商、兴业有贷款的企业</a:t>
                      </a:r>
                      <a:endParaRPr lang="zh-CN" altLang="en-US" sz="1000" b="0" i="0" u="none" strike="noStrike">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dirty="0">
                          <a:solidFill>
                            <a:srgbClr val="FF0000"/>
                          </a:solidFill>
                          <a:effectLst/>
                          <a:latin typeface="思源黑体 CN Medium" panose="020B0600000000000000" pitchFamily="34" charset="-122"/>
                          <a:ea typeface="思源黑体 CN Medium" panose="020B0600000000000000" pitchFamily="34" charset="-122"/>
                          <a:sym typeface="+mn-ea"/>
                        </a:rPr>
                        <a:t>补助：按其使用资金最高不超过当期基准利率利息的</a:t>
                      </a:r>
                      <a:r>
                        <a:rPr lang="en-US" altLang="zh-CN" sz="1000" dirty="0">
                          <a:solidFill>
                            <a:srgbClr val="FF0000"/>
                          </a:solidFill>
                          <a:effectLst/>
                          <a:latin typeface="思源黑体 CN Medium" panose="020B0600000000000000" pitchFamily="34" charset="-122"/>
                          <a:ea typeface="思源黑体 CN Medium" panose="020B0600000000000000" pitchFamily="34" charset="-122"/>
                          <a:sym typeface="+mn-ea"/>
                        </a:rPr>
                        <a:t>50%</a:t>
                      </a:r>
                      <a:endParaRPr lang="en-US" altLang="zh-CN" sz="10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p>
                      <a:pPr algn="l" fontAlgn="ctr"/>
                      <a:r>
                        <a:rPr lang="zh-CN" altLang="en-US" sz="1000" dirty="0">
                          <a:solidFill>
                            <a:srgbClr val="FF0000"/>
                          </a:solidFill>
                          <a:effectLst/>
                          <a:latin typeface="思源黑体 CN Medium" panose="020B0600000000000000" pitchFamily="34" charset="-122"/>
                          <a:ea typeface="思源黑体 CN Medium" panose="020B0600000000000000" pitchFamily="34" charset="-122"/>
                          <a:sym typeface="+mn-ea"/>
                        </a:rPr>
                        <a:t>给予贴息，单个企业年度贴息金额最高不超过</a:t>
                      </a:r>
                      <a:r>
                        <a:rPr lang="en-US" altLang="zh-CN" sz="1000" dirty="0">
                          <a:solidFill>
                            <a:srgbClr val="FF0000"/>
                          </a:solidFill>
                          <a:effectLst/>
                          <a:latin typeface="思源黑体 CN Medium" panose="020B0600000000000000" pitchFamily="34" charset="-122"/>
                          <a:ea typeface="思源黑体 CN Medium" panose="020B0600000000000000" pitchFamily="34" charset="-122"/>
                          <a:sym typeface="+mn-ea"/>
                        </a:rPr>
                        <a:t>20</a:t>
                      </a:r>
                      <a:r>
                        <a:rPr lang="zh-CN" altLang="en-US" sz="1000" dirty="0">
                          <a:solidFill>
                            <a:srgbClr val="FF0000"/>
                          </a:solidFill>
                          <a:effectLst/>
                          <a:latin typeface="思源黑体 CN Medium" panose="020B0600000000000000" pitchFamily="34" charset="-122"/>
                          <a:ea typeface="思源黑体 CN Medium" panose="020B0600000000000000" pitchFamily="34" charset="-122"/>
                          <a:sym typeface="+mn-ea"/>
                        </a:rPr>
                        <a:t>万元</a:t>
                      </a:r>
                      <a:endParaRPr lang="zh-CN" altLang="en-US" sz="1000" b="0" i="0" u="none" strike="noStrike" dirty="0">
                        <a:solidFill>
                          <a:srgbClr val="FF0000"/>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华金  刘波 </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13326619153</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endPar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市政策性融资担保机构和小额贷款公司为</a:t>
                      </a:r>
                      <a:endParaRPr lang="en-US" altLang="zh-CN"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p>
                      <a:pPr algn="ctr" fontAlgn="ct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企业提供不超过</a:t>
                      </a:r>
                      <a:r>
                        <a:rPr lang="en-US" altLang="zh-CN"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3</a:t>
                      </a:r>
                      <a:r>
                        <a:rPr lang="zh-CN" altLang="en-US" sz="1000"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rPr>
                        <a:t>个月银行贷款到期过桥资金帮助</a:t>
                      </a:r>
                      <a:endParaRPr lang="zh-CN" altLang="en-US" sz="1000" b="0" i="0" u="none" strike="noStrike" dirty="0">
                        <a:solidFill>
                          <a:schemeClr val="tx1">
                            <a:lumMod val="95000"/>
                            <a:lumOff val="5000"/>
                          </a:schemeClr>
                        </a:solidFill>
                        <a:effectLst/>
                        <a:latin typeface="思源黑体 CN Medium" panose="020B0600000000000000" pitchFamily="34" charset="-122"/>
                        <a:ea typeface="思源黑体 CN Medium" panose="020B0600000000000000" pitchFamily="34" charset="-122"/>
                        <a:sym typeface="+mn-ea"/>
                      </a:endParaRPr>
                    </a:p>
                  </a:txBody>
                  <a:tcPr marL="5117" marR="5117" marT="51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联系我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26476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60" y="1306513"/>
            <a:ext cx="12192000" cy="4933950"/>
            <a:chOff x="-7145" y="1304132"/>
            <a:chExt cx="12192000" cy="4933950"/>
          </a:xfrm>
        </p:grpSpPr>
        <p:sp>
          <p:nvSpPr>
            <p:cNvPr id="6" name="iṣ1íḋé"/>
            <p:cNvSpPr/>
            <p:nvPr/>
          </p:nvSpPr>
          <p:spPr>
            <a:xfrm>
              <a:off x="-7145" y="2372086"/>
              <a:ext cx="12192000" cy="2394024"/>
            </a:xfrm>
            <a:prstGeom prst="rect">
              <a:avLst/>
            </a:prstGeom>
            <a:pattFill prst="wd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1828165" rtl="0" eaLnBrk="1" latinLnBrk="0" hangingPunct="1">
                <a:defRPr sz="3600" kern="1200">
                  <a:solidFill>
                    <a:schemeClr val="lt1"/>
                  </a:solidFill>
                </a:defRPr>
              </a:lvl1pPr>
              <a:lvl2pPr marL="914400" algn="l" defTabSz="1828165" rtl="0" eaLnBrk="1" latinLnBrk="0" hangingPunct="1">
                <a:defRPr sz="3600" kern="1200">
                  <a:solidFill>
                    <a:schemeClr val="lt1"/>
                  </a:solidFill>
                </a:defRPr>
              </a:lvl2pPr>
              <a:lvl3pPr marL="1828165" algn="l" defTabSz="1828165" rtl="0" eaLnBrk="1" latinLnBrk="0" hangingPunct="1">
                <a:defRPr sz="3600" kern="1200">
                  <a:solidFill>
                    <a:schemeClr val="lt1"/>
                  </a:solidFill>
                </a:defRPr>
              </a:lvl3pPr>
              <a:lvl4pPr marL="2742565" algn="l" defTabSz="1828165" rtl="0" eaLnBrk="1" latinLnBrk="0" hangingPunct="1">
                <a:defRPr sz="3600" kern="1200">
                  <a:solidFill>
                    <a:schemeClr val="lt1"/>
                  </a:solidFill>
                </a:defRPr>
              </a:lvl4pPr>
              <a:lvl5pPr marL="3656965" algn="l" defTabSz="1828165" rtl="0" eaLnBrk="1" latinLnBrk="0" hangingPunct="1">
                <a:defRPr sz="3600" kern="1200">
                  <a:solidFill>
                    <a:schemeClr val="lt1"/>
                  </a:solidFill>
                </a:defRPr>
              </a:lvl5pPr>
              <a:lvl6pPr marL="4571365" algn="l" defTabSz="1828165" rtl="0" eaLnBrk="1" latinLnBrk="0" hangingPunct="1">
                <a:defRPr sz="3600" kern="1200">
                  <a:solidFill>
                    <a:schemeClr val="lt1"/>
                  </a:solidFill>
                </a:defRPr>
              </a:lvl6pPr>
              <a:lvl7pPr marL="5485130" algn="l" defTabSz="1828165" rtl="0" eaLnBrk="1" latinLnBrk="0" hangingPunct="1">
                <a:defRPr sz="3600" kern="1200">
                  <a:solidFill>
                    <a:schemeClr val="lt1"/>
                  </a:solidFill>
                </a:defRPr>
              </a:lvl7pPr>
              <a:lvl8pPr marL="6399530" algn="l" defTabSz="1828165" rtl="0" eaLnBrk="1" latinLnBrk="0" hangingPunct="1">
                <a:defRPr sz="3600" kern="1200">
                  <a:solidFill>
                    <a:schemeClr val="lt1"/>
                  </a:solidFill>
                </a:defRPr>
              </a:lvl8pPr>
              <a:lvl9pPr marL="7313930" algn="l" defTabSz="1828165" rtl="0" eaLnBrk="1" latinLnBrk="0" hangingPunct="1">
                <a:defRPr sz="3600" kern="1200">
                  <a:solidFill>
                    <a:schemeClr val="lt1"/>
                  </a:solidFill>
                </a:defRPr>
              </a:lvl9pPr>
            </a:lstStyle>
            <a:p>
              <a:pPr algn="ctr"/>
              <a:endParaRPr lang="ru-RU"/>
            </a:p>
          </p:txBody>
        </p:sp>
        <p:grpSp>
          <p:nvGrpSpPr>
            <p:cNvPr id="9" name="îṡľïḓe"/>
            <p:cNvGrpSpPr/>
            <p:nvPr/>
          </p:nvGrpSpPr>
          <p:grpSpPr>
            <a:xfrm>
              <a:off x="2123461" y="1421311"/>
              <a:ext cx="790575" cy="790575"/>
              <a:chOff x="1792467" y="1421311"/>
              <a:chExt cx="790575" cy="790575"/>
            </a:xfrm>
          </p:grpSpPr>
          <p:sp>
            <p:nvSpPr>
              <p:cNvPr id="26" name="ïś1íḓe"/>
              <p:cNvSpPr/>
              <p:nvPr/>
            </p:nvSpPr>
            <p:spPr>
              <a:xfrm>
                <a:off x="1792467" y="1421311"/>
                <a:ext cx="790575" cy="790575"/>
              </a:xfrm>
              <a:prstGeom prst="ellipse">
                <a:avLst/>
              </a:prstGeom>
              <a:solidFill>
                <a:schemeClr val="accent2">
                  <a:lumMod val="75000"/>
                </a:schemeClr>
              </a:solidFill>
              <a:ln w="3810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sp>
            <p:nvSpPr>
              <p:cNvPr id="27" name="îṡľîḑé"/>
              <p:cNvSpPr/>
              <p:nvPr/>
            </p:nvSpPr>
            <p:spPr>
              <a:xfrm>
                <a:off x="1973441" y="1637777"/>
                <a:ext cx="428626" cy="357640"/>
              </a:xfrm>
              <a:custGeom>
                <a:avLst/>
                <a:gdLst>
                  <a:gd name="connsiteX0" fmla="*/ 409335 w 603951"/>
                  <a:gd name="connsiteY0" fmla="*/ 174560 h 503930"/>
                  <a:gd name="connsiteX1" fmla="*/ 434158 w 603951"/>
                  <a:gd name="connsiteY1" fmla="*/ 174560 h 503930"/>
                  <a:gd name="connsiteX2" fmla="*/ 434158 w 603951"/>
                  <a:gd name="connsiteY2" fmla="*/ 196395 h 503930"/>
                  <a:gd name="connsiteX3" fmla="*/ 469904 w 603951"/>
                  <a:gd name="connsiteY3" fmla="*/ 204335 h 503930"/>
                  <a:gd name="connsiteX4" fmla="*/ 461960 w 603951"/>
                  <a:gd name="connsiteY4" fmla="*/ 232125 h 503930"/>
                  <a:gd name="connsiteX5" fmla="*/ 427208 w 603951"/>
                  <a:gd name="connsiteY5" fmla="*/ 224185 h 503930"/>
                  <a:gd name="connsiteX6" fmla="*/ 405363 w 603951"/>
                  <a:gd name="connsiteY6" fmla="*/ 238080 h 503930"/>
                  <a:gd name="connsiteX7" fmla="*/ 435151 w 603951"/>
                  <a:gd name="connsiteY7" fmla="*/ 258922 h 503930"/>
                  <a:gd name="connsiteX8" fmla="*/ 476854 w 603951"/>
                  <a:gd name="connsiteY8" fmla="*/ 305569 h 503930"/>
                  <a:gd name="connsiteX9" fmla="*/ 432172 w 603951"/>
                  <a:gd name="connsiteY9" fmla="*/ 351224 h 503930"/>
                  <a:gd name="connsiteX10" fmla="*/ 432172 w 603951"/>
                  <a:gd name="connsiteY10" fmla="*/ 376036 h 503930"/>
                  <a:gd name="connsiteX11" fmla="*/ 408342 w 603951"/>
                  <a:gd name="connsiteY11" fmla="*/ 376036 h 503930"/>
                  <a:gd name="connsiteX12" fmla="*/ 408342 w 603951"/>
                  <a:gd name="connsiteY12" fmla="*/ 353209 h 503930"/>
                  <a:gd name="connsiteX13" fmla="*/ 366639 w 603951"/>
                  <a:gd name="connsiteY13" fmla="*/ 342291 h 503930"/>
                  <a:gd name="connsiteX14" fmla="*/ 373589 w 603951"/>
                  <a:gd name="connsiteY14" fmla="*/ 313509 h 503930"/>
                  <a:gd name="connsiteX15" fmla="*/ 414300 w 603951"/>
                  <a:gd name="connsiteY15" fmla="*/ 324426 h 503930"/>
                  <a:gd name="connsiteX16" fmla="*/ 438130 w 603951"/>
                  <a:gd name="connsiteY16" fmla="*/ 308546 h 503930"/>
                  <a:gd name="connsiteX17" fmla="*/ 412314 w 603951"/>
                  <a:gd name="connsiteY17" fmla="*/ 287704 h 503930"/>
                  <a:gd name="connsiteX18" fmla="*/ 367632 w 603951"/>
                  <a:gd name="connsiteY18" fmla="*/ 242050 h 503930"/>
                  <a:gd name="connsiteX19" fmla="*/ 409335 w 603951"/>
                  <a:gd name="connsiteY19" fmla="*/ 198380 h 503930"/>
                  <a:gd name="connsiteX20" fmla="*/ 23849 w 603951"/>
                  <a:gd name="connsiteY20" fmla="*/ 147802 h 503930"/>
                  <a:gd name="connsiteX21" fmla="*/ 179857 w 603951"/>
                  <a:gd name="connsiteY21" fmla="*/ 147802 h 503930"/>
                  <a:gd name="connsiteX22" fmla="*/ 202712 w 603951"/>
                  <a:gd name="connsiteY22" fmla="*/ 171610 h 503930"/>
                  <a:gd name="connsiteX23" fmla="*/ 202712 w 603951"/>
                  <a:gd name="connsiteY23" fmla="*/ 321402 h 503930"/>
                  <a:gd name="connsiteX24" fmla="*/ 178864 w 603951"/>
                  <a:gd name="connsiteY24" fmla="*/ 345210 h 503930"/>
                  <a:gd name="connsiteX25" fmla="*/ 159984 w 603951"/>
                  <a:gd name="connsiteY25" fmla="*/ 336282 h 503930"/>
                  <a:gd name="connsiteX26" fmla="*/ 151041 w 603951"/>
                  <a:gd name="connsiteY26" fmla="*/ 481114 h 503930"/>
                  <a:gd name="connsiteX27" fmla="*/ 126198 w 603951"/>
                  <a:gd name="connsiteY27" fmla="*/ 503930 h 503930"/>
                  <a:gd name="connsiteX28" fmla="*/ 77508 w 603951"/>
                  <a:gd name="connsiteY28" fmla="*/ 503930 h 503930"/>
                  <a:gd name="connsiteX29" fmla="*/ 52665 w 603951"/>
                  <a:gd name="connsiteY29" fmla="*/ 481114 h 503930"/>
                  <a:gd name="connsiteX30" fmla="*/ 42729 w 603951"/>
                  <a:gd name="connsiteY30" fmla="*/ 336282 h 503930"/>
                  <a:gd name="connsiteX31" fmla="*/ 24842 w 603951"/>
                  <a:gd name="connsiteY31" fmla="*/ 345210 h 503930"/>
                  <a:gd name="connsiteX32" fmla="*/ 994 w 603951"/>
                  <a:gd name="connsiteY32" fmla="*/ 321402 h 503930"/>
                  <a:gd name="connsiteX33" fmla="*/ 0 w 603951"/>
                  <a:gd name="connsiteY33" fmla="*/ 171610 h 503930"/>
                  <a:gd name="connsiteX34" fmla="*/ 23849 w 603951"/>
                  <a:gd name="connsiteY34" fmla="*/ 147802 h 503930"/>
                  <a:gd name="connsiteX35" fmla="*/ 421189 w 603951"/>
                  <a:gd name="connsiteY35" fmla="*/ 144915 h 503930"/>
                  <a:gd name="connsiteX36" fmla="*/ 291070 w 603951"/>
                  <a:gd name="connsiteY36" fmla="*/ 275856 h 503930"/>
                  <a:gd name="connsiteX37" fmla="*/ 421189 w 603951"/>
                  <a:gd name="connsiteY37" fmla="*/ 405804 h 503930"/>
                  <a:gd name="connsiteX38" fmla="*/ 552301 w 603951"/>
                  <a:gd name="connsiteY38" fmla="*/ 275856 h 503930"/>
                  <a:gd name="connsiteX39" fmla="*/ 421189 w 603951"/>
                  <a:gd name="connsiteY39" fmla="*/ 144915 h 503930"/>
                  <a:gd name="connsiteX40" fmla="*/ 421189 w 603951"/>
                  <a:gd name="connsiteY40" fmla="*/ 93332 h 503930"/>
                  <a:gd name="connsiteX41" fmla="*/ 603951 w 603951"/>
                  <a:gd name="connsiteY41" fmla="*/ 275856 h 503930"/>
                  <a:gd name="connsiteX42" fmla="*/ 421189 w 603951"/>
                  <a:gd name="connsiteY42" fmla="*/ 458379 h 503930"/>
                  <a:gd name="connsiteX43" fmla="*/ 238427 w 603951"/>
                  <a:gd name="connsiteY43" fmla="*/ 275856 h 503930"/>
                  <a:gd name="connsiteX44" fmla="*/ 421189 w 603951"/>
                  <a:gd name="connsiteY44" fmla="*/ 93332 h 503930"/>
                  <a:gd name="connsiteX45" fmla="*/ 101854 w 603951"/>
                  <a:gd name="connsiteY45" fmla="*/ 0 h 503930"/>
                  <a:gd name="connsiteX46" fmla="*/ 167872 w 603951"/>
                  <a:gd name="connsiteY46" fmla="*/ 66018 h 503930"/>
                  <a:gd name="connsiteX47" fmla="*/ 101854 w 603951"/>
                  <a:gd name="connsiteY47" fmla="*/ 132036 h 503930"/>
                  <a:gd name="connsiteX48" fmla="*/ 35836 w 603951"/>
                  <a:gd name="connsiteY48" fmla="*/ 66018 h 503930"/>
                  <a:gd name="connsiteX49" fmla="*/ 101854 w 603951"/>
                  <a:gd name="connsiteY49" fmla="*/ 0 h 503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3951" h="503930">
                    <a:moveTo>
                      <a:pt x="409335" y="174560"/>
                    </a:moveTo>
                    <a:lnTo>
                      <a:pt x="434158" y="174560"/>
                    </a:lnTo>
                    <a:lnTo>
                      <a:pt x="434158" y="196395"/>
                    </a:lnTo>
                    <a:cubicBezTo>
                      <a:pt x="450045" y="197387"/>
                      <a:pt x="461960" y="200365"/>
                      <a:pt x="469904" y="204335"/>
                    </a:cubicBezTo>
                    <a:lnTo>
                      <a:pt x="461960" y="232125"/>
                    </a:lnTo>
                    <a:cubicBezTo>
                      <a:pt x="456003" y="230140"/>
                      <a:pt x="445080" y="224185"/>
                      <a:pt x="427208" y="224185"/>
                    </a:cubicBezTo>
                    <a:cubicBezTo>
                      <a:pt x="410328" y="224185"/>
                      <a:pt x="405363" y="231132"/>
                      <a:pt x="405363" y="238080"/>
                    </a:cubicBezTo>
                    <a:cubicBezTo>
                      <a:pt x="405363" y="246019"/>
                      <a:pt x="414300" y="250982"/>
                      <a:pt x="435151" y="258922"/>
                    </a:cubicBezTo>
                    <a:cubicBezTo>
                      <a:pt x="464939" y="269839"/>
                      <a:pt x="476854" y="283734"/>
                      <a:pt x="476854" y="305569"/>
                    </a:cubicBezTo>
                    <a:cubicBezTo>
                      <a:pt x="476854" y="327404"/>
                      <a:pt x="460967" y="346261"/>
                      <a:pt x="432172" y="351224"/>
                    </a:cubicBezTo>
                    <a:lnTo>
                      <a:pt x="432172" y="376036"/>
                    </a:lnTo>
                    <a:lnTo>
                      <a:pt x="408342" y="376036"/>
                    </a:lnTo>
                    <a:lnTo>
                      <a:pt x="408342" y="353209"/>
                    </a:lnTo>
                    <a:cubicBezTo>
                      <a:pt x="391462" y="352216"/>
                      <a:pt x="375575" y="348246"/>
                      <a:pt x="366639" y="342291"/>
                    </a:cubicBezTo>
                    <a:lnTo>
                      <a:pt x="373589" y="313509"/>
                    </a:lnTo>
                    <a:cubicBezTo>
                      <a:pt x="383519" y="319464"/>
                      <a:pt x="398413" y="324426"/>
                      <a:pt x="414300" y="324426"/>
                    </a:cubicBezTo>
                    <a:cubicBezTo>
                      <a:pt x="429193" y="324426"/>
                      <a:pt x="438130" y="318471"/>
                      <a:pt x="438130" y="308546"/>
                    </a:cubicBezTo>
                    <a:cubicBezTo>
                      <a:pt x="438130" y="299614"/>
                      <a:pt x="430186" y="293659"/>
                      <a:pt x="412314" y="287704"/>
                    </a:cubicBezTo>
                    <a:cubicBezTo>
                      <a:pt x="385505" y="278772"/>
                      <a:pt x="367632" y="265869"/>
                      <a:pt x="367632" y="242050"/>
                    </a:cubicBezTo>
                    <a:cubicBezTo>
                      <a:pt x="367632" y="220215"/>
                      <a:pt x="383519" y="203342"/>
                      <a:pt x="409335" y="198380"/>
                    </a:cubicBezTo>
                    <a:close/>
                    <a:moveTo>
                      <a:pt x="23849" y="147802"/>
                    </a:moveTo>
                    <a:cubicBezTo>
                      <a:pt x="34779" y="147802"/>
                      <a:pt x="178864" y="147802"/>
                      <a:pt x="179857" y="147802"/>
                    </a:cubicBezTo>
                    <a:cubicBezTo>
                      <a:pt x="192775" y="147802"/>
                      <a:pt x="203706" y="158714"/>
                      <a:pt x="202712" y="171610"/>
                    </a:cubicBezTo>
                    <a:lnTo>
                      <a:pt x="202712" y="321402"/>
                    </a:lnTo>
                    <a:cubicBezTo>
                      <a:pt x="202712" y="334298"/>
                      <a:pt x="191782" y="345210"/>
                      <a:pt x="178864" y="345210"/>
                    </a:cubicBezTo>
                    <a:cubicBezTo>
                      <a:pt x="170914" y="345210"/>
                      <a:pt x="164952" y="341242"/>
                      <a:pt x="159984" y="336282"/>
                    </a:cubicBezTo>
                    <a:lnTo>
                      <a:pt x="151041" y="481114"/>
                    </a:lnTo>
                    <a:cubicBezTo>
                      <a:pt x="150047" y="494010"/>
                      <a:pt x="139116" y="503930"/>
                      <a:pt x="126198" y="503930"/>
                    </a:cubicBezTo>
                    <a:lnTo>
                      <a:pt x="77508" y="503930"/>
                    </a:lnTo>
                    <a:cubicBezTo>
                      <a:pt x="63596" y="503930"/>
                      <a:pt x="53659" y="495002"/>
                      <a:pt x="52665" y="481114"/>
                    </a:cubicBezTo>
                    <a:lnTo>
                      <a:pt x="42729" y="336282"/>
                    </a:lnTo>
                    <a:cubicBezTo>
                      <a:pt x="38754" y="341242"/>
                      <a:pt x="31798" y="345210"/>
                      <a:pt x="24842" y="345210"/>
                    </a:cubicBezTo>
                    <a:cubicBezTo>
                      <a:pt x="10931" y="345210"/>
                      <a:pt x="994" y="334298"/>
                      <a:pt x="994" y="321402"/>
                    </a:cubicBezTo>
                    <a:lnTo>
                      <a:pt x="0" y="171610"/>
                    </a:lnTo>
                    <a:cubicBezTo>
                      <a:pt x="0" y="158714"/>
                      <a:pt x="10931" y="147802"/>
                      <a:pt x="23849" y="147802"/>
                    </a:cubicBezTo>
                    <a:close/>
                    <a:moveTo>
                      <a:pt x="421189" y="144915"/>
                    </a:moveTo>
                    <a:cubicBezTo>
                      <a:pt x="349673" y="144915"/>
                      <a:pt x="291070" y="203441"/>
                      <a:pt x="291070" y="275856"/>
                    </a:cubicBezTo>
                    <a:cubicBezTo>
                      <a:pt x="291070" y="347278"/>
                      <a:pt x="349673" y="405804"/>
                      <a:pt x="421189" y="405804"/>
                    </a:cubicBezTo>
                    <a:cubicBezTo>
                      <a:pt x="493698" y="405804"/>
                      <a:pt x="552301" y="347278"/>
                      <a:pt x="552301" y="275856"/>
                    </a:cubicBezTo>
                    <a:cubicBezTo>
                      <a:pt x="552301" y="203441"/>
                      <a:pt x="493698" y="144915"/>
                      <a:pt x="421189" y="144915"/>
                    </a:cubicBezTo>
                    <a:close/>
                    <a:moveTo>
                      <a:pt x="421189" y="93332"/>
                    </a:moveTo>
                    <a:cubicBezTo>
                      <a:pt x="522503" y="93332"/>
                      <a:pt x="603951" y="174674"/>
                      <a:pt x="603951" y="275856"/>
                    </a:cubicBezTo>
                    <a:cubicBezTo>
                      <a:pt x="603951" y="376045"/>
                      <a:pt x="522503" y="458379"/>
                      <a:pt x="421189" y="458379"/>
                    </a:cubicBezTo>
                    <a:cubicBezTo>
                      <a:pt x="320869" y="458379"/>
                      <a:pt x="238427" y="376045"/>
                      <a:pt x="238427" y="275856"/>
                    </a:cubicBezTo>
                    <a:cubicBezTo>
                      <a:pt x="238427" y="174674"/>
                      <a:pt x="320869" y="93332"/>
                      <a:pt x="421189" y="93332"/>
                    </a:cubicBezTo>
                    <a:close/>
                    <a:moveTo>
                      <a:pt x="101854" y="0"/>
                    </a:moveTo>
                    <a:cubicBezTo>
                      <a:pt x="138315" y="0"/>
                      <a:pt x="167872" y="29557"/>
                      <a:pt x="167872" y="66018"/>
                    </a:cubicBezTo>
                    <a:cubicBezTo>
                      <a:pt x="167872" y="102479"/>
                      <a:pt x="138315" y="132036"/>
                      <a:pt x="101854" y="132036"/>
                    </a:cubicBezTo>
                    <a:cubicBezTo>
                      <a:pt x="65393" y="132036"/>
                      <a:pt x="35836" y="102479"/>
                      <a:pt x="35836" y="66018"/>
                    </a:cubicBezTo>
                    <a:cubicBezTo>
                      <a:pt x="35836" y="29557"/>
                      <a:pt x="65393" y="0"/>
                      <a:pt x="101854" y="0"/>
                    </a:cubicBezTo>
                    <a:close/>
                  </a:path>
                </a:pathLst>
              </a:custGeom>
              <a:solidFill>
                <a:schemeClr val="bg1"/>
              </a:solid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grpSp>
        <p:sp>
          <p:nvSpPr>
            <p:cNvPr id="25" name="îṡḷïḋè"/>
            <p:cNvSpPr txBox="1"/>
            <p:nvPr/>
          </p:nvSpPr>
          <p:spPr bwMode="auto">
            <a:xfrm>
              <a:off x="5606230" y="1804233"/>
              <a:ext cx="5716366" cy="475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2800" b="1" dirty="0">
                  <a:solidFill>
                    <a:srgbClr val="11155B"/>
                  </a:solidFill>
                </a:rPr>
                <a:t>服务电话</a:t>
              </a:r>
              <a:endParaRPr lang="zh-CN" altLang="en-US" sz="2800" b="1" dirty="0">
                <a:solidFill>
                  <a:srgbClr val="11155B"/>
                </a:solidFill>
              </a:endParaRPr>
            </a:p>
          </p:txBody>
        </p:sp>
        <p:sp>
          <p:nvSpPr>
            <p:cNvPr id="23" name="îşlïde"/>
            <p:cNvSpPr/>
            <p:nvPr/>
          </p:nvSpPr>
          <p:spPr>
            <a:xfrm>
              <a:off x="5904860" y="1311274"/>
              <a:ext cx="369578" cy="428626"/>
            </a:xfrm>
            <a:custGeom>
              <a:avLst/>
              <a:gdLst>
                <a:gd name="connsiteX0" fmla="*/ 319112 w 489849"/>
                <a:gd name="connsiteY0" fmla="*/ 229316 h 568112"/>
                <a:gd name="connsiteX1" fmla="*/ 466776 w 489849"/>
                <a:gd name="connsiteY1" fmla="*/ 229316 h 568112"/>
                <a:gd name="connsiteX2" fmla="*/ 489849 w 489849"/>
                <a:gd name="connsiteY2" fmla="*/ 252332 h 568112"/>
                <a:gd name="connsiteX3" fmla="*/ 488926 w 489849"/>
                <a:gd name="connsiteY3" fmla="*/ 394111 h 568112"/>
                <a:gd name="connsiteX4" fmla="*/ 465854 w 489849"/>
                <a:gd name="connsiteY4" fmla="*/ 417127 h 568112"/>
                <a:gd name="connsiteX5" fmla="*/ 448318 w 489849"/>
                <a:gd name="connsiteY5" fmla="*/ 407920 h 568112"/>
                <a:gd name="connsiteX6" fmla="*/ 440012 w 489849"/>
                <a:gd name="connsiteY6" fmla="*/ 546017 h 568112"/>
                <a:gd name="connsiteX7" fmla="*/ 416017 w 489849"/>
                <a:gd name="connsiteY7" fmla="*/ 568112 h 568112"/>
                <a:gd name="connsiteX8" fmla="*/ 369872 w 489849"/>
                <a:gd name="connsiteY8" fmla="*/ 568112 h 568112"/>
                <a:gd name="connsiteX9" fmla="*/ 345877 w 489849"/>
                <a:gd name="connsiteY9" fmla="*/ 546017 h 568112"/>
                <a:gd name="connsiteX10" fmla="*/ 336648 w 489849"/>
                <a:gd name="connsiteY10" fmla="*/ 407920 h 568112"/>
                <a:gd name="connsiteX11" fmla="*/ 319112 w 489849"/>
                <a:gd name="connsiteY11" fmla="*/ 417127 h 568112"/>
                <a:gd name="connsiteX12" fmla="*/ 296963 w 489849"/>
                <a:gd name="connsiteY12" fmla="*/ 394111 h 568112"/>
                <a:gd name="connsiteX13" fmla="*/ 296040 w 489849"/>
                <a:gd name="connsiteY13" fmla="*/ 252332 h 568112"/>
                <a:gd name="connsiteX14" fmla="*/ 319112 w 489849"/>
                <a:gd name="connsiteY14" fmla="*/ 229316 h 568112"/>
                <a:gd name="connsiteX15" fmla="*/ 218220 w 489849"/>
                <a:gd name="connsiteY15" fmla="*/ 220143 h 568112"/>
                <a:gd name="connsiteX16" fmla="*/ 245442 w 489849"/>
                <a:gd name="connsiteY16" fmla="*/ 247291 h 568112"/>
                <a:gd name="connsiteX17" fmla="*/ 218220 w 489849"/>
                <a:gd name="connsiteY17" fmla="*/ 274439 h 568112"/>
                <a:gd name="connsiteX18" fmla="*/ 190998 w 489849"/>
                <a:gd name="connsiteY18" fmla="*/ 247291 h 568112"/>
                <a:gd name="connsiteX19" fmla="*/ 218220 w 489849"/>
                <a:gd name="connsiteY19" fmla="*/ 220143 h 568112"/>
                <a:gd name="connsiteX20" fmla="*/ 124127 w 489849"/>
                <a:gd name="connsiteY20" fmla="*/ 220143 h 568112"/>
                <a:gd name="connsiteX21" fmla="*/ 151349 w 489849"/>
                <a:gd name="connsiteY21" fmla="*/ 247291 h 568112"/>
                <a:gd name="connsiteX22" fmla="*/ 124127 w 489849"/>
                <a:gd name="connsiteY22" fmla="*/ 274439 h 568112"/>
                <a:gd name="connsiteX23" fmla="*/ 96905 w 489849"/>
                <a:gd name="connsiteY23" fmla="*/ 247291 h 568112"/>
                <a:gd name="connsiteX24" fmla="*/ 124127 w 489849"/>
                <a:gd name="connsiteY24" fmla="*/ 220143 h 568112"/>
                <a:gd name="connsiteX25" fmla="*/ 111618 w 489849"/>
                <a:gd name="connsiteY25" fmla="*/ 137146 h 568112"/>
                <a:gd name="connsiteX26" fmla="*/ 249963 w 489849"/>
                <a:gd name="connsiteY26" fmla="*/ 137146 h 568112"/>
                <a:gd name="connsiteX27" fmla="*/ 267487 w 489849"/>
                <a:gd name="connsiteY27" fmla="*/ 154677 h 568112"/>
                <a:gd name="connsiteX28" fmla="*/ 249963 w 489849"/>
                <a:gd name="connsiteY28" fmla="*/ 172209 h 568112"/>
                <a:gd name="connsiteX29" fmla="*/ 111618 w 489849"/>
                <a:gd name="connsiteY29" fmla="*/ 172209 h 568112"/>
                <a:gd name="connsiteX30" fmla="*/ 94094 w 489849"/>
                <a:gd name="connsiteY30" fmla="*/ 154677 h 568112"/>
                <a:gd name="connsiteX31" fmla="*/ 111618 w 489849"/>
                <a:gd name="connsiteY31" fmla="*/ 137146 h 568112"/>
                <a:gd name="connsiteX32" fmla="*/ 392944 w 489849"/>
                <a:gd name="connsiteY32" fmla="*/ 88472 h 568112"/>
                <a:gd name="connsiteX33" fmla="*/ 455673 w 489849"/>
                <a:gd name="connsiteY33" fmla="*/ 151053 h 568112"/>
                <a:gd name="connsiteX34" fmla="*/ 392944 w 489849"/>
                <a:gd name="connsiteY34" fmla="*/ 213634 h 568112"/>
                <a:gd name="connsiteX35" fmla="*/ 330215 w 489849"/>
                <a:gd name="connsiteY35" fmla="*/ 151053 h 568112"/>
                <a:gd name="connsiteX36" fmla="*/ 392944 w 489849"/>
                <a:gd name="connsiteY36" fmla="*/ 88472 h 568112"/>
                <a:gd name="connsiteX37" fmla="*/ 18450 w 489849"/>
                <a:gd name="connsiteY37" fmla="*/ 0 h 568112"/>
                <a:gd name="connsiteX38" fmla="*/ 404971 w 489849"/>
                <a:gd name="connsiteY38" fmla="*/ 0 h 568112"/>
                <a:gd name="connsiteX39" fmla="*/ 423421 w 489849"/>
                <a:gd name="connsiteY39" fmla="*/ 18421 h 568112"/>
                <a:gd name="connsiteX40" fmla="*/ 423421 w 489849"/>
                <a:gd name="connsiteY40" fmla="*/ 70920 h 568112"/>
                <a:gd name="connsiteX41" fmla="*/ 392056 w 489849"/>
                <a:gd name="connsiteY41" fmla="*/ 64473 h 568112"/>
                <a:gd name="connsiteX42" fmla="*/ 328405 w 489849"/>
                <a:gd name="connsiteY42" fmla="*/ 93947 h 568112"/>
                <a:gd name="connsiteX43" fmla="*/ 58117 w 489849"/>
                <a:gd name="connsiteY43" fmla="*/ 93947 h 568112"/>
                <a:gd name="connsiteX44" fmla="*/ 58117 w 489849"/>
                <a:gd name="connsiteY44" fmla="*/ 299340 h 568112"/>
                <a:gd name="connsiteX45" fmla="*/ 79334 w 489849"/>
                <a:gd name="connsiteY45" fmla="*/ 320524 h 568112"/>
                <a:gd name="connsiteX46" fmla="*/ 273056 w 489849"/>
                <a:gd name="connsiteY46" fmla="*/ 320524 h 568112"/>
                <a:gd name="connsiteX47" fmla="*/ 273056 w 489849"/>
                <a:gd name="connsiteY47" fmla="*/ 367497 h 568112"/>
                <a:gd name="connsiteX48" fmla="*/ 79334 w 489849"/>
                <a:gd name="connsiteY48" fmla="*/ 367497 h 568112"/>
                <a:gd name="connsiteX49" fmla="*/ 11992 w 489849"/>
                <a:gd name="connsiteY49" fmla="*/ 299340 h 568112"/>
                <a:gd name="connsiteX50" fmla="*/ 11992 w 489849"/>
                <a:gd name="connsiteY50" fmla="*/ 95789 h 568112"/>
                <a:gd name="connsiteX51" fmla="*/ 0 w 489849"/>
                <a:gd name="connsiteY51" fmla="*/ 78289 h 568112"/>
                <a:gd name="connsiteX52" fmla="*/ 0 w 489849"/>
                <a:gd name="connsiteY52" fmla="*/ 18421 h 568112"/>
                <a:gd name="connsiteX53" fmla="*/ 18450 w 489849"/>
                <a:gd name="connsiteY53" fmla="*/ 0 h 56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89849" h="568112">
                  <a:moveTo>
                    <a:pt x="319112" y="229316"/>
                  </a:moveTo>
                  <a:cubicBezTo>
                    <a:pt x="329264" y="229316"/>
                    <a:pt x="466776" y="229316"/>
                    <a:pt x="466776" y="229316"/>
                  </a:cubicBezTo>
                  <a:cubicBezTo>
                    <a:pt x="479697" y="229316"/>
                    <a:pt x="489849" y="239443"/>
                    <a:pt x="489849" y="252332"/>
                  </a:cubicBezTo>
                  <a:lnTo>
                    <a:pt x="488926" y="394111"/>
                  </a:lnTo>
                  <a:cubicBezTo>
                    <a:pt x="488926" y="406079"/>
                    <a:pt x="478774" y="417127"/>
                    <a:pt x="465854" y="417127"/>
                  </a:cubicBezTo>
                  <a:cubicBezTo>
                    <a:pt x="459393" y="417127"/>
                    <a:pt x="452933" y="413444"/>
                    <a:pt x="448318" y="407920"/>
                  </a:cubicBezTo>
                  <a:lnTo>
                    <a:pt x="440012" y="546017"/>
                  </a:lnTo>
                  <a:cubicBezTo>
                    <a:pt x="439090" y="558906"/>
                    <a:pt x="428938" y="568112"/>
                    <a:pt x="416017" y="568112"/>
                  </a:cubicBezTo>
                  <a:lnTo>
                    <a:pt x="369872" y="568112"/>
                  </a:lnTo>
                  <a:cubicBezTo>
                    <a:pt x="356951" y="568112"/>
                    <a:pt x="346800" y="558906"/>
                    <a:pt x="345877" y="546017"/>
                  </a:cubicBezTo>
                  <a:lnTo>
                    <a:pt x="336648" y="407920"/>
                  </a:lnTo>
                  <a:cubicBezTo>
                    <a:pt x="332956" y="413444"/>
                    <a:pt x="326496" y="417127"/>
                    <a:pt x="319112" y="417127"/>
                  </a:cubicBezTo>
                  <a:cubicBezTo>
                    <a:pt x="307115" y="417127"/>
                    <a:pt x="296963" y="406079"/>
                    <a:pt x="296963" y="394111"/>
                  </a:cubicBezTo>
                  <a:lnTo>
                    <a:pt x="296040" y="252332"/>
                  </a:lnTo>
                  <a:cubicBezTo>
                    <a:pt x="296040" y="239443"/>
                    <a:pt x="306192" y="229316"/>
                    <a:pt x="319112" y="229316"/>
                  </a:cubicBezTo>
                  <a:close/>
                  <a:moveTo>
                    <a:pt x="218220" y="220143"/>
                  </a:moveTo>
                  <a:cubicBezTo>
                    <a:pt x="233254" y="220143"/>
                    <a:pt x="245442" y="232298"/>
                    <a:pt x="245442" y="247291"/>
                  </a:cubicBezTo>
                  <a:cubicBezTo>
                    <a:pt x="245442" y="262284"/>
                    <a:pt x="233254" y="274439"/>
                    <a:pt x="218220" y="274439"/>
                  </a:cubicBezTo>
                  <a:cubicBezTo>
                    <a:pt x="203186" y="274439"/>
                    <a:pt x="190998" y="262284"/>
                    <a:pt x="190998" y="247291"/>
                  </a:cubicBezTo>
                  <a:cubicBezTo>
                    <a:pt x="190998" y="232298"/>
                    <a:pt x="203186" y="220143"/>
                    <a:pt x="218220" y="220143"/>
                  </a:cubicBezTo>
                  <a:close/>
                  <a:moveTo>
                    <a:pt x="124127" y="220143"/>
                  </a:moveTo>
                  <a:cubicBezTo>
                    <a:pt x="139161" y="220143"/>
                    <a:pt x="151349" y="232298"/>
                    <a:pt x="151349" y="247291"/>
                  </a:cubicBezTo>
                  <a:cubicBezTo>
                    <a:pt x="151349" y="262284"/>
                    <a:pt x="139161" y="274439"/>
                    <a:pt x="124127" y="274439"/>
                  </a:cubicBezTo>
                  <a:cubicBezTo>
                    <a:pt x="109093" y="274439"/>
                    <a:pt x="96905" y="262284"/>
                    <a:pt x="96905" y="247291"/>
                  </a:cubicBezTo>
                  <a:cubicBezTo>
                    <a:pt x="96905" y="232298"/>
                    <a:pt x="109093" y="220143"/>
                    <a:pt x="124127" y="220143"/>
                  </a:cubicBezTo>
                  <a:close/>
                  <a:moveTo>
                    <a:pt x="111618" y="137146"/>
                  </a:moveTo>
                  <a:lnTo>
                    <a:pt x="249963" y="137146"/>
                  </a:lnTo>
                  <a:cubicBezTo>
                    <a:pt x="259186" y="137146"/>
                    <a:pt x="267487" y="144528"/>
                    <a:pt x="267487" y="154677"/>
                  </a:cubicBezTo>
                  <a:cubicBezTo>
                    <a:pt x="267487" y="164827"/>
                    <a:pt x="259186" y="172209"/>
                    <a:pt x="249963" y="172209"/>
                  </a:cubicBezTo>
                  <a:lnTo>
                    <a:pt x="111618" y="172209"/>
                  </a:lnTo>
                  <a:cubicBezTo>
                    <a:pt x="101472" y="172209"/>
                    <a:pt x="94094" y="163905"/>
                    <a:pt x="94094" y="154677"/>
                  </a:cubicBezTo>
                  <a:cubicBezTo>
                    <a:pt x="94094" y="144528"/>
                    <a:pt x="101472" y="137146"/>
                    <a:pt x="111618" y="137146"/>
                  </a:cubicBezTo>
                  <a:close/>
                  <a:moveTo>
                    <a:pt x="392944" y="88472"/>
                  </a:moveTo>
                  <a:cubicBezTo>
                    <a:pt x="427588" y="88472"/>
                    <a:pt x="455673" y="116490"/>
                    <a:pt x="455673" y="151053"/>
                  </a:cubicBezTo>
                  <a:cubicBezTo>
                    <a:pt x="455673" y="185616"/>
                    <a:pt x="427588" y="213634"/>
                    <a:pt x="392944" y="213634"/>
                  </a:cubicBezTo>
                  <a:cubicBezTo>
                    <a:pt x="358300" y="213634"/>
                    <a:pt x="330215" y="185616"/>
                    <a:pt x="330215" y="151053"/>
                  </a:cubicBezTo>
                  <a:cubicBezTo>
                    <a:pt x="330215" y="116490"/>
                    <a:pt x="358300" y="88472"/>
                    <a:pt x="392944" y="88472"/>
                  </a:cubicBezTo>
                  <a:close/>
                  <a:moveTo>
                    <a:pt x="18450" y="0"/>
                  </a:moveTo>
                  <a:lnTo>
                    <a:pt x="404971" y="0"/>
                  </a:lnTo>
                  <a:cubicBezTo>
                    <a:pt x="415119" y="0"/>
                    <a:pt x="423421" y="8289"/>
                    <a:pt x="423421" y="18421"/>
                  </a:cubicBezTo>
                  <a:lnTo>
                    <a:pt x="423421" y="70920"/>
                  </a:lnTo>
                  <a:cubicBezTo>
                    <a:pt x="414196" y="67236"/>
                    <a:pt x="403126" y="64473"/>
                    <a:pt x="392056" y="64473"/>
                  </a:cubicBezTo>
                  <a:cubicBezTo>
                    <a:pt x="367149" y="64473"/>
                    <a:pt x="344087" y="75526"/>
                    <a:pt x="328405" y="93947"/>
                  </a:cubicBezTo>
                  <a:lnTo>
                    <a:pt x="58117" y="93947"/>
                  </a:lnTo>
                  <a:lnTo>
                    <a:pt x="58117" y="299340"/>
                  </a:lnTo>
                  <a:cubicBezTo>
                    <a:pt x="58117" y="311313"/>
                    <a:pt x="68264" y="320524"/>
                    <a:pt x="79334" y="320524"/>
                  </a:cubicBezTo>
                  <a:lnTo>
                    <a:pt x="273056" y="320524"/>
                  </a:lnTo>
                  <a:lnTo>
                    <a:pt x="273056" y="367497"/>
                  </a:lnTo>
                  <a:lnTo>
                    <a:pt x="79334" y="367497"/>
                  </a:lnTo>
                  <a:cubicBezTo>
                    <a:pt x="42434" y="367497"/>
                    <a:pt x="11992" y="337103"/>
                    <a:pt x="11992" y="299340"/>
                  </a:cubicBezTo>
                  <a:lnTo>
                    <a:pt x="11992" y="95789"/>
                  </a:lnTo>
                  <a:cubicBezTo>
                    <a:pt x="5535" y="93026"/>
                    <a:pt x="0" y="86578"/>
                    <a:pt x="0" y="78289"/>
                  </a:cubicBezTo>
                  <a:lnTo>
                    <a:pt x="0" y="18421"/>
                  </a:lnTo>
                  <a:cubicBezTo>
                    <a:pt x="0" y="8289"/>
                    <a:pt x="8302" y="0"/>
                    <a:pt x="18450" y="0"/>
                  </a:cubicBezTo>
                  <a:close/>
                </a:path>
              </a:pathLst>
            </a:custGeom>
            <a:solidFill>
              <a:schemeClr val="bg1"/>
            </a:solid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sp>
          <p:nvSpPr>
            <p:cNvPr id="19" name="iṩḷíḋè"/>
            <p:cNvSpPr/>
            <p:nvPr/>
          </p:nvSpPr>
          <p:spPr>
            <a:xfrm>
              <a:off x="9341643" y="1338985"/>
              <a:ext cx="428626" cy="373202"/>
            </a:xfrm>
            <a:custGeom>
              <a:avLst/>
              <a:gdLst>
                <a:gd name="connsiteX0" fmla="*/ 24839 w 606022"/>
                <a:gd name="connsiteY0" fmla="*/ 154651 h 527661"/>
                <a:gd name="connsiteX1" fmla="*/ 187786 w 606022"/>
                <a:gd name="connsiteY1" fmla="*/ 154651 h 527661"/>
                <a:gd name="connsiteX2" fmla="*/ 212625 w 606022"/>
                <a:gd name="connsiteY2" fmla="*/ 179452 h 527661"/>
                <a:gd name="connsiteX3" fmla="*/ 212625 w 606022"/>
                <a:gd name="connsiteY3" fmla="*/ 336196 h 527661"/>
                <a:gd name="connsiteX4" fmla="*/ 186792 w 606022"/>
                <a:gd name="connsiteY4" fmla="*/ 360997 h 527661"/>
                <a:gd name="connsiteX5" fmla="*/ 167914 w 606022"/>
                <a:gd name="connsiteY5" fmla="*/ 351076 h 527661"/>
                <a:gd name="connsiteX6" fmla="*/ 157978 w 606022"/>
                <a:gd name="connsiteY6" fmla="*/ 503852 h 527661"/>
                <a:gd name="connsiteX7" fmla="*/ 132145 w 606022"/>
                <a:gd name="connsiteY7" fmla="*/ 527661 h 527661"/>
                <a:gd name="connsiteX8" fmla="*/ 80480 w 606022"/>
                <a:gd name="connsiteY8" fmla="*/ 527661 h 527661"/>
                <a:gd name="connsiteX9" fmla="*/ 54647 w 606022"/>
                <a:gd name="connsiteY9" fmla="*/ 503852 h 527661"/>
                <a:gd name="connsiteX10" fmla="*/ 44711 w 606022"/>
                <a:gd name="connsiteY10" fmla="*/ 352069 h 527661"/>
                <a:gd name="connsiteX11" fmla="*/ 25833 w 606022"/>
                <a:gd name="connsiteY11" fmla="*/ 360997 h 527661"/>
                <a:gd name="connsiteX12" fmla="*/ 994 w 606022"/>
                <a:gd name="connsiteY12" fmla="*/ 336196 h 527661"/>
                <a:gd name="connsiteX13" fmla="*/ 0 w 606022"/>
                <a:gd name="connsiteY13" fmla="*/ 179452 h 527661"/>
                <a:gd name="connsiteX14" fmla="*/ 24839 w 606022"/>
                <a:gd name="connsiteY14" fmla="*/ 154651 h 527661"/>
                <a:gd name="connsiteX15" fmla="*/ 331782 w 606022"/>
                <a:gd name="connsiteY15" fmla="*/ 130920 h 527661"/>
                <a:gd name="connsiteX16" fmla="*/ 444021 w 606022"/>
                <a:gd name="connsiteY16" fmla="*/ 130920 h 527661"/>
                <a:gd name="connsiteX17" fmla="*/ 469846 w 606022"/>
                <a:gd name="connsiteY17" fmla="*/ 157678 h 527661"/>
                <a:gd name="connsiteX18" fmla="*/ 444021 w 606022"/>
                <a:gd name="connsiteY18" fmla="*/ 184435 h 527661"/>
                <a:gd name="connsiteX19" fmla="*/ 331782 w 606022"/>
                <a:gd name="connsiteY19" fmla="*/ 184435 h 527661"/>
                <a:gd name="connsiteX20" fmla="*/ 305957 w 606022"/>
                <a:gd name="connsiteY20" fmla="*/ 157678 h 527661"/>
                <a:gd name="connsiteX21" fmla="*/ 331782 w 606022"/>
                <a:gd name="connsiteY21" fmla="*/ 130920 h 527661"/>
                <a:gd name="connsiteX22" fmla="*/ 503213 w 606022"/>
                <a:gd name="connsiteY22" fmla="*/ 73423 h 527661"/>
                <a:gd name="connsiteX23" fmla="*/ 529572 w 606022"/>
                <a:gd name="connsiteY23" fmla="*/ 99703 h 527661"/>
                <a:gd name="connsiteX24" fmla="*/ 503213 w 606022"/>
                <a:gd name="connsiteY24" fmla="*/ 125983 h 527661"/>
                <a:gd name="connsiteX25" fmla="*/ 476854 w 606022"/>
                <a:gd name="connsiteY25" fmla="*/ 99703 h 527661"/>
                <a:gd name="connsiteX26" fmla="*/ 503213 w 606022"/>
                <a:gd name="connsiteY26" fmla="*/ 73423 h 527661"/>
                <a:gd name="connsiteX27" fmla="*/ 287128 w 606022"/>
                <a:gd name="connsiteY27" fmla="*/ 52570 h 527661"/>
                <a:gd name="connsiteX28" fmla="*/ 282160 w 606022"/>
                <a:gd name="connsiteY28" fmla="*/ 57530 h 527661"/>
                <a:gd name="connsiteX29" fmla="*/ 282160 w 606022"/>
                <a:gd name="connsiteY29" fmla="*/ 221192 h 527661"/>
                <a:gd name="connsiteX30" fmla="*/ 287128 w 606022"/>
                <a:gd name="connsiteY30" fmla="*/ 226152 h 527661"/>
                <a:gd name="connsiteX31" fmla="*/ 547409 w 606022"/>
                <a:gd name="connsiteY31" fmla="*/ 226152 h 527661"/>
                <a:gd name="connsiteX32" fmla="*/ 551383 w 606022"/>
                <a:gd name="connsiteY32" fmla="*/ 221192 h 527661"/>
                <a:gd name="connsiteX33" fmla="*/ 551383 w 606022"/>
                <a:gd name="connsiteY33" fmla="*/ 57530 h 527661"/>
                <a:gd name="connsiteX34" fmla="*/ 547409 w 606022"/>
                <a:gd name="connsiteY34" fmla="*/ 52570 h 527661"/>
                <a:gd name="connsiteX35" fmla="*/ 287128 w 606022"/>
                <a:gd name="connsiteY35" fmla="*/ 0 h 527661"/>
                <a:gd name="connsiteX36" fmla="*/ 547409 w 606022"/>
                <a:gd name="connsiteY36" fmla="*/ 0 h 527661"/>
                <a:gd name="connsiteX37" fmla="*/ 606022 w 606022"/>
                <a:gd name="connsiteY37" fmla="*/ 57530 h 527661"/>
                <a:gd name="connsiteX38" fmla="*/ 606022 w 606022"/>
                <a:gd name="connsiteY38" fmla="*/ 221192 h 527661"/>
                <a:gd name="connsiteX39" fmla="*/ 547409 w 606022"/>
                <a:gd name="connsiteY39" fmla="*/ 278722 h 527661"/>
                <a:gd name="connsiteX40" fmla="*/ 287128 w 606022"/>
                <a:gd name="connsiteY40" fmla="*/ 278722 h 527661"/>
                <a:gd name="connsiteX41" fmla="*/ 229508 w 606022"/>
                <a:gd name="connsiteY41" fmla="*/ 221192 h 527661"/>
                <a:gd name="connsiteX42" fmla="*/ 229508 w 606022"/>
                <a:gd name="connsiteY42" fmla="*/ 57530 h 527661"/>
                <a:gd name="connsiteX43" fmla="*/ 287128 w 606022"/>
                <a:gd name="connsiteY43" fmla="*/ 0 h 527661"/>
                <a:gd name="connsiteX44" fmla="*/ 106313 w 606022"/>
                <a:gd name="connsiteY44" fmla="*/ 0 h 527661"/>
                <a:gd name="connsiteX45" fmla="*/ 175835 w 606022"/>
                <a:gd name="connsiteY45" fmla="*/ 68964 h 527661"/>
                <a:gd name="connsiteX46" fmla="*/ 106313 w 606022"/>
                <a:gd name="connsiteY46" fmla="*/ 137928 h 527661"/>
                <a:gd name="connsiteX47" fmla="*/ 36791 w 606022"/>
                <a:gd name="connsiteY47" fmla="*/ 68964 h 527661"/>
                <a:gd name="connsiteX48" fmla="*/ 106313 w 606022"/>
                <a:gd name="connsiteY48" fmla="*/ 0 h 52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6022" h="527661">
                  <a:moveTo>
                    <a:pt x="24839" y="154651"/>
                  </a:moveTo>
                  <a:cubicBezTo>
                    <a:pt x="35769" y="154651"/>
                    <a:pt x="187786" y="154651"/>
                    <a:pt x="187786" y="154651"/>
                  </a:cubicBezTo>
                  <a:cubicBezTo>
                    <a:pt x="201696" y="154651"/>
                    <a:pt x="212625" y="166556"/>
                    <a:pt x="212625" y="179452"/>
                  </a:cubicBezTo>
                  <a:lnTo>
                    <a:pt x="212625" y="336196"/>
                  </a:lnTo>
                  <a:cubicBezTo>
                    <a:pt x="211631" y="350084"/>
                    <a:pt x="200702" y="360997"/>
                    <a:pt x="186792" y="360997"/>
                  </a:cubicBezTo>
                  <a:cubicBezTo>
                    <a:pt x="178843" y="360997"/>
                    <a:pt x="171888" y="357029"/>
                    <a:pt x="167914" y="351076"/>
                  </a:cubicBezTo>
                  <a:lnTo>
                    <a:pt x="157978" y="503852"/>
                  </a:lnTo>
                  <a:cubicBezTo>
                    <a:pt x="156985" y="517741"/>
                    <a:pt x="146055" y="527661"/>
                    <a:pt x="132145" y="527661"/>
                  </a:cubicBezTo>
                  <a:lnTo>
                    <a:pt x="80480" y="527661"/>
                  </a:lnTo>
                  <a:cubicBezTo>
                    <a:pt x="66570" y="527661"/>
                    <a:pt x="55640" y="517741"/>
                    <a:pt x="54647" y="503852"/>
                  </a:cubicBezTo>
                  <a:lnTo>
                    <a:pt x="44711" y="352069"/>
                  </a:lnTo>
                  <a:cubicBezTo>
                    <a:pt x="40737" y="357029"/>
                    <a:pt x="33782" y="360997"/>
                    <a:pt x="25833" y="360997"/>
                  </a:cubicBezTo>
                  <a:cubicBezTo>
                    <a:pt x="11923" y="360997"/>
                    <a:pt x="994" y="350084"/>
                    <a:pt x="994" y="336196"/>
                  </a:cubicBezTo>
                  <a:lnTo>
                    <a:pt x="0" y="179452"/>
                  </a:lnTo>
                  <a:cubicBezTo>
                    <a:pt x="0" y="165564"/>
                    <a:pt x="10929" y="154651"/>
                    <a:pt x="24839" y="154651"/>
                  </a:cubicBezTo>
                  <a:close/>
                  <a:moveTo>
                    <a:pt x="331782" y="130920"/>
                  </a:moveTo>
                  <a:lnTo>
                    <a:pt x="444021" y="130920"/>
                  </a:lnTo>
                  <a:cubicBezTo>
                    <a:pt x="458920" y="130920"/>
                    <a:pt x="469846" y="142812"/>
                    <a:pt x="469846" y="157678"/>
                  </a:cubicBezTo>
                  <a:cubicBezTo>
                    <a:pt x="469846" y="172543"/>
                    <a:pt x="458920" y="184435"/>
                    <a:pt x="444021" y="184435"/>
                  </a:cubicBezTo>
                  <a:lnTo>
                    <a:pt x="331782" y="184435"/>
                  </a:lnTo>
                  <a:cubicBezTo>
                    <a:pt x="317876" y="184435"/>
                    <a:pt x="305957" y="172543"/>
                    <a:pt x="305957" y="157678"/>
                  </a:cubicBezTo>
                  <a:cubicBezTo>
                    <a:pt x="305957" y="142812"/>
                    <a:pt x="317876" y="130920"/>
                    <a:pt x="331782" y="130920"/>
                  </a:cubicBezTo>
                  <a:close/>
                  <a:moveTo>
                    <a:pt x="503213" y="73423"/>
                  </a:moveTo>
                  <a:cubicBezTo>
                    <a:pt x="517771" y="73423"/>
                    <a:pt x="529572" y="85189"/>
                    <a:pt x="529572" y="99703"/>
                  </a:cubicBezTo>
                  <a:cubicBezTo>
                    <a:pt x="529572" y="114217"/>
                    <a:pt x="517771" y="125983"/>
                    <a:pt x="503213" y="125983"/>
                  </a:cubicBezTo>
                  <a:cubicBezTo>
                    <a:pt x="488655" y="125983"/>
                    <a:pt x="476854" y="114217"/>
                    <a:pt x="476854" y="99703"/>
                  </a:cubicBezTo>
                  <a:cubicBezTo>
                    <a:pt x="476854" y="85189"/>
                    <a:pt x="488655" y="73423"/>
                    <a:pt x="503213" y="73423"/>
                  </a:cubicBezTo>
                  <a:close/>
                  <a:moveTo>
                    <a:pt x="287128" y="52570"/>
                  </a:moveTo>
                  <a:cubicBezTo>
                    <a:pt x="285141" y="52570"/>
                    <a:pt x="282160" y="54554"/>
                    <a:pt x="282160" y="57530"/>
                  </a:cubicBezTo>
                  <a:lnTo>
                    <a:pt x="282160" y="221192"/>
                  </a:lnTo>
                  <a:cubicBezTo>
                    <a:pt x="282160" y="224168"/>
                    <a:pt x="285141" y="226152"/>
                    <a:pt x="287128" y="226152"/>
                  </a:cubicBezTo>
                  <a:lnTo>
                    <a:pt x="547409" y="226152"/>
                  </a:lnTo>
                  <a:cubicBezTo>
                    <a:pt x="550389" y="226152"/>
                    <a:pt x="551383" y="224168"/>
                    <a:pt x="551383" y="221192"/>
                  </a:cubicBezTo>
                  <a:lnTo>
                    <a:pt x="551383" y="57530"/>
                  </a:lnTo>
                  <a:cubicBezTo>
                    <a:pt x="551383" y="54554"/>
                    <a:pt x="550389" y="52570"/>
                    <a:pt x="547409" y="52570"/>
                  </a:cubicBezTo>
                  <a:close/>
                  <a:moveTo>
                    <a:pt x="287128" y="0"/>
                  </a:moveTo>
                  <a:lnTo>
                    <a:pt x="547409" y="0"/>
                  </a:lnTo>
                  <a:cubicBezTo>
                    <a:pt x="579199" y="0"/>
                    <a:pt x="606022" y="25789"/>
                    <a:pt x="606022" y="57530"/>
                  </a:cubicBezTo>
                  <a:lnTo>
                    <a:pt x="606022" y="221192"/>
                  </a:lnTo>
                  <a:cubicBezTo>
                    <a:pt x="606022" y="252933"/>
                    <a:pt x="579199" y="278722"/>
                    <a:pt x="547409" y="278722"/>
                  </a:cubicBezTo>
                  <a:lnTo>
                    <a:pt x="287128" y="278722"/>
                  </a:lnTo>
                  <a:cubicBezTo>
                    <a:pt x="255337" y="278722"/>
                    <a:pt x="229508" y="252933"/>
                    <a:pt x="229508" y="221192"/>
                  </a:cubicBezTo>
                  <a:lnTo>
                    <a:pt x="229508" y="57530"/>
                  </a:lnTo>
                  <a:cubicBezTo>
                    <a:pt x="229508" y="25789"/>
                    <a:pt x="255337" y="0"/>
                    <a:pt x="287128" y="0"/>
                  </a:cubicBezTo>
                  <a:close/>
                  <a:moveTo>
                    <a:pt x="106313" y="0"/>
                  </a:moveTo>
                  <a:cubicBezTo>
                    <a:pt x="144709" y="0"/>
                    <a:pt x="175835" y="30876"/>
                    <a:pt x="175835" y="68964"/>
                  </a:cubicBezTo>
                  <a:cubicBezTo>
                    <a:pt x="175835" y="107052"/>
                    <a:pt x="144709" y="137928"/>
                    <a:pt x="106313" y="137928"/>
                  </a:cubicBezTo>
                  <a:cubicBezTo>
                    <a:pt x="67917" y="137928"/>
                    <a:pt x="36791" y="107052"/>
                    <a:pt x="36791" y="68964"/>
                  </a:cubicBezTo>
                  <a:cubicBezTo>
                    <a:pt x="36791" y="30876"/>
                    <a:pt x="67917" y="0"/>
                    <a:pt x="106313" y="0"/>
                  </a:cubicBezTo>
                  <a:close/>
                </a:path>
              </a:pathLst>
            </a:custGeom>
            <a:solidFill>
              <a:schemeClr val="bg1"/>
            </a:solid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cxnSp>
          <p:nvCxnSpPr>
            <p:cNvPr id="16" name="直接连接符 15"/>
            <p:cNvCxnSpPr/>
            <p:nvPr/>
          </p:nvCxnSpPr>
          <p:spPr>
            <a:xfrm>
              <a:off x="4518338" y="1304132"/>
              <a:ext cx="0" cy="493395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aphicFrame>
        <p:nvGraphicFramePr>
          <p:cNvPr id="17" name="表格 10"/>
          <p:cNvGraphicFramePr>
            <a:graphicFrameLocks noGrp="1"/>
          </p:cNvGraphicFramePr>
          <p:nvPr/>
        </p:nvGraphicFramePr>
        <p:xfrm>
          <a:off x="4978131" y="2772434"/>
          <a:ext cx="6631977" cy="2065040"/>
        </p:xfrm>
        <a:graphic>
          <a:graphicData uri="http://schemas.openxmlformats.org/drawingml/2006/table">
            <a:tbl>
              <a:tblPr firstRow="1" bandRow="1">
                <a:tableStyleId>{3B4B98B0-60AC-42C2-AFA5-B58CD77FA1E5}</a:tableStyleId>
              </a:tblPr>
              <a:tblGrid>
                <a:gridCol w="1604395"/>
                <a:gridCol w="1446182"/>
                <a:gridCol w="2052471"/>
                <a:gridCol w="1528929"/>
              </a:tblGrid>
              <a:tr h="483235">
                <a:tc>
                  <a:txBody>
                    <a:bodyPr/>
                    <a:lstStyle/>
                    <a:p>
                      <a:pPr algn="ctr"/>
                      <a:r>
                        <a:rPr lang="zh-CN" altLang="en-US" sz="2000" b="1" dirty="0"/>
                        <a:t>单       位</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b="1" dirty="0"/>
                        <a:t>联系人</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b="1" dirty="0"/>
                        <a:t>咨询电话</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b="1" dirty="0"/>
                        <a:t>职        务 </a:t>
                      </a:r>
                      <a:endParaRPr lang="zh-CN" altLang="en-US" sz="2000" b="1" dirty="0"/>
                    </a:p>
                  </a:txBody>
                  <a:tcPr marL="91441" marR="91441" marT="45719" marB="45719" anchor="ctr"/>
                </a:tc>
              </a:tr>
              <a:tr h="533547">
                <a:tc>
                  <a:txBody>
                    <a:bodyPr/>
                    <a:p>
                      <a:pPr algn="ctr">
                        <a:buNone/>
                      </a:pPr>
                      <a:r>
                        <a:rPr lang="zh-CN" altLang="en-US" sz="2000" b="1" dirty="0">
                          <a:sym typeface="+mn-ea"/>
                        </a:rPr>
                        <a:t>中小中心</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p>
                      <a:pPr algn="ctr">
                        <a:buNone/>
                      </a:pPr>
                      <a:r>
                        <a:rPr lang="zh-CN" altLang="en-US" sz="2000" b="1" dirty="0">
                          <a:latin typeface="微软雅黑" panose="020B0503020204020204" pitchFamily="34" charset="-122"/>
                          <a:ea typeface="微软雅黑" panose="020B0503020204020204" pitchFamily="34" charset="-122"/>
                        </a:rPr>
                        <a:t>王泽楠</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p>
                      <a:pPr algn="ctr">
                        <a:buNone/>
                      </a:pPr>
                      <a:r>
                        <a:rPr lang="en-US" altLang="en-US" sz="2000" b="1" dirty="0">
                          <a:latin typeface="微软雅黑" panose="020B0503020204020204" pitchFamily="34" charset="-122"/>
                          <a:ea typeface="微软雅黑" panose="020B0503020204020204" pitchFamily="34" charset="-122"/>
                        </a:rPr>
                        <a:t>2219303</a:t>
                      </a:r>
                      <a:endParaRPr lang="en-US"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p>
                      <a:pPr algn="ctr">
                        <a:buNone/>
                      </a:pPr>
                      <a:r>
                        <a:rPr lang="zh-CN" altLang="en-US" sz="2000" b="1" dirty="0">
                          <a:latin typeface="微软雅黑" panose="020B0503020204020204" pitchFamily="34" charset="-122"/>
                          <a:ea typeface="微软雅黑" panose="020B0503020204020204" pitchFamily="34" charset="-122"/>
                        </a:rPr>
                        <a:t>融资部长</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r>
              <a:tr h="533547">
                <a:tc>
                  <a:txBody>
                    <a:bodyPr/>
                    <a:lstStyle/>
                    <a:p>
                      <a:pPr algn="ctr"/>
                      <a:r>
                        <a:rPr lang="zh-CN" altLang="en-US" sz="2000" b="1" dirty="0"/>
                        <a:t>中小中心</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b="1" dirty="0"/>
                        <a:t>杨国安</a:t>
                      </a:r>
                      <a:endParaRPr lang="zh-CN" altLang="en-US" sz="2000" b="1" dirty="0"/>
                    </a:p>
                  </a:txBody>
                  <a:tcPr marL="91441" marR="91441" marT="45719" marB="45719" anchor="ctr"/>
                </a:tc>
                <a:tc>
                  <a:txBody>
                    <a:bodyPr/>
                    <a:lstStyle/>
                    <a:p>
                      <a:pPr algn="ctr"/>
                      <a:r>
                        <a:rPr lang="en-US" sz="2000" b="1" dirty="0"/>
                        <a:t>2250183</a:t>
                      </a:r>
                      <a:endParaRPr 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b="1" dirty="0"/>
                        <a:t>副  主  任</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r>
              <a:tr h="514711">
                <a:tc>
                  <a:txBody>
                    <a:bodyPr/>
                    <a:lstStyle/>
                    <a:p>
                      <a:pPr algn="ctr"/>
                      <a:r>
                        <a:rPr lang="zh-CN" altLang="en-US" sz="2000" b="1" dirty="0"/>
                        <a:t>中小中心</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b="1" dirty="0"/>
                        <a:t>李    仲</a:t>
                      </a:r>
                      <a:endParaRPr lang="zh-CN" altLang="en-US" sz="2000" b="1" dirty="0"/>
                    </a:p>
                  </a:txBody>
                  <a:tcPr marL="91441" marR="91441" marT="45719" marB="45719" anchor="ctr"/>
                </a:tc>
                <a:tc>
                  <a:txBody>
                    <a:bodyPr/>
                    <a:lstStyle/>
                    <a:p>
                      <a:pPr algn="ctr"/>
                      <a:r>
                        <a:rPr lang="en-US" altLang="zh-CN" sz="2000" b="1" dirty="0"/>
                        <a:t>2216210</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b="1" dirty="0"/>
                        <a:t>主        任</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r>
            </a:tbl>
          </a:graphicData>
        </a:graphic>
      </p:graphicFrame>
      <p:pic>
        <p:nvPicPr>
          <p:cNvPr id="7" name="图片 6" descr="zqy-qrcode"/>
          <p:cNvPicPr>
            <a:picLocks noChangeAspect="1"/>
          </p:cNvPicPr>
          <p:nvPr/>
        </p:nvPicPr>
        <p:blipFill>
          <a:blip r:embed="rId2"/>
          <a:stretch>
            <a:fillRect/>
          </a:stretch>
        </p:blipFill>
        <p:spPr>
          <a:xfrm>
            <a:off x="1139190" y="2282190"/>
            <a:ext cx="2773680" cy="2646045"/>
          </a:xfrm>
          <a:prstGeom prst="rect">
            <a:avLst/>
          </a:prstGeom>
        </p:spPr>
      </p:pic>
      <p:sp>
        <p:nvSpPr>
          <p:cNvPr id="8" name="标题 1"/>
          <p:cNvSpPr>
            <a:spLocks noGrp="1"/>
          </p:cNvSpPr>
          <p:nvPr/>
        </p:nvSpPr>
        <p:spPr>
          <a:xfrm>
            <a:off x="1139825" y="5008245"/>
            <a:ext cx="2697480" cy="470535"/>
          </a:xfrm>
          <a:prstGeom prst="rect">
            <a:avLst/>
          </a:prstGeom>
        </p:spPr>
        <p:txBody>
          <a:bodyPr vert="horz" lIns="91440" tIns="45720" rIns="91440" bIns="45720" rtlCol="0" anchor="b">
            <a:normAutofit fontScale="60000"/>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zh-CN" altLang="en-US" dirty="0"/>
              <a:t>珠海政企云微信公众号</a:t>
            </a:r>
            <a:endParaRPr lang="zh-CN" alt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8"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673101" y="4033914"/>
            <a:ext cx="10845798" cy="1108539"/>
          </a:xfrm>
        </p:spPr>
        <p:txBody>
          <a:bodyPr>
            <a:normAutofit/>
          </a:bodyPr>
          <a:lstStyle/>
          <a:p>
            <a:r>
              <a:rPr lang="en-US" altLang="zh-CN" sz="6600" b="0" dirty="0">
                <a:solidFill>
                  <a:srgbClr val="11155B"/>
                </a:solidFill>
                <a:latin typeface="Impact" panose="020B0806030902050204" pitchFamily="34" charset="0"/>
              </a:rPr>
              <a:t>- </a:t>
            </a:r>
            <a:r>
              <a:rPr lang="zh-CN" altLang="en-US" sz="6600" b="0" dirty="0">
                <a:solidFill>
                  <a:srgbClr val="11155B"/>
                </a:solidFill>
                <a:latin typeface="Impact" panose="020B0806030902050204" pitchFamily="34" charset="0"/>
              </a:rPr>
              <a:t>感谢聆听 </a:t>
            </a:r>
            <a:r>
              <a:rPr lang="en-US" altLang="zh-CN" sz="6600" b="0" dirty="0">
                <a:solidFill>
                  <a:srgbClr val="11155B"/>
                </a:solidFill>
                <a:latin typeface="Impact" panose="020B0806030902050204" pitchFamily="34" charset="0"/>
              </a:rPr>
              <a:t>-</a:t>
            </a:r>
            <a:endParaRPr lang="zh-CN" altLang="en-US" sz="2800" dirty="0">
              <a:solidFill>
                <a:srgbClr val="11155B"/>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珠海市中小企业服务中心简介</a:t>
            </a:r>
            <a:endParaRPr lang="zh-CN" altLang="en-US" dirty="0"/>
          </a:p>
        </p:txBody>
      </p:sp>
      <p:sp>
        <p:nvSpPr>
          <p:cNvPr id="6" name="文本占位符 5"/>
          <p:cNvSpPr>
            <a:spLocks noGrp="1"/>
          </p:cNvSpPr>
          <p:nvPr>
            <p:ph type="body" idx="1"/>
          </p:nvPr>
        </p:nvSpPr>
        <p:spPr/>
        <p:txBody>
          <a:bodyPr>
            <a:normAutofit/>
          </a:bodyPr>
          <a:lstStyle/>
          <a:p>
            <a:pPr>
              <a:defRPr/>
            </a:pPr>
            <a:r>
              <a:rPr lang="zh-CN" altLang="en-US" sz="1400" dirty="0">
                <a:latin typeface="+mn-ea"/>
              </a:rPr>
              <a:t>      </a:t>
            </a:r>
            <a:endParaRPr lang="en-US" altLang="zh-CN" sz="1400" dirty="0">
              <a:latin typeface="+mn-ea"/>
            </a:endParaRPr>
          </a:p>
        </p:txBody>
      </p:sp>
      <p:sp>
        <p:nvSpPr>
          <p:cNvPr id="9" name="文本框 8"/>
          <p:cNvSpPr txBox="1"/>
          <p:nvPr/>
        </p:nvSpPr>
        <p:spPr>
          <a:xfrm>
            <a:off x="4677066" y="349457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任意多边形 28"/>
          <p:cNvSpPr>
            <a:spLocks noChangeArrowheads="1"/>
          </p:cNvSpPr>
          <p:nvPr/>
        </p:nvSpPr>
        <p:spPr bwMode="auto">
          <a:xfrm>
            <a:off x="7326149" y="4508267"/>
            <a:ext cx="217340" cy="288032"/>
          </a:xfrm>
          <a:custGeom>
            <a:avLst/>
            <a:gdLst>
              <a:gd name="T0" fmla="*/ 201222 w 668742"/>
              <a:gd name="T1" fmla="*/ 99806 h 807243"/>
              <a:gd name="T2" fmla="*/ 110778 w 668742"/>
              <a:gd name="T3" fmla="*/ 190017 h 807243"/>
              <a:gd name="T4" fmla="*/ 201222 w 668742"/>
              <a:gd name="T5" fmla="*/ 280228 h 807243"/>
              <a:gd name="T6" fmla="*/ 291666 w 668742"/>
              <a:gd name="T7" fmla="*/ 190017 h 807243"/>
              <a:gd name="T8" fmla="*/ 201222 w 668742"/>
              <a:gd name="T9" fmla="*/ 99806 h 807243"/>
              <a:gd name="T10" fmla="*/ 198438 w 668742"/>
              <a:gd name="T11" fmla="*/ 0 h 807243"/>
              <a:gd name="T12" fmla="*/ 338755 w 668742"/>
              <a:gd name="T13" fmla="*/ 57971 h 807243"/>
              <a:gd name="T14" fmla="*/ 338754 w 668742"/>
              <a:gd name="T15" fmla="*/ 57971 h 807243"/>
              <a:gd name="T16" fmla="*/ 338754 w 668742"/>
              <a:gd name="T17" fmla="*/ 337883 h 807243"/>
              <a:gd name="T18" fmla="*/ 198438 w 668742"/>
              <a:gd name="T19" fmla="*/ 477838 h 807243"/>
              <a:gd name="T20" fmla="*/ 58121 w 668742"/>
              <a:gd name="T21" fmla="*/ 337882 h 807243"/>
              <a:gd name="T22" fmla="*/ 58121 w 668742"/>
              <a:gd name="T23" fmla="*/ 57971 h 807243"/>
              <a:gd name="T24" fmla="*/ 198438 w 668742"/>
              <a:gd name="T25" fmla="*/ 0 h 8072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8742"/>
              <a:gd name="T40" fmla="*/ 0 h 807243"/>
              <a:gd name="T41" fmla="*/ 668742 w 668742"/>
              <a:gd name="T42" fmla="*/ 807243 h 8072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8742" h="807243">
                <a:moveTo>
                  <a:pt x="339063" y="168608"/>
                </a:moveTo>
                <a:cubicBezTo>
                  <a:pt x="254895" y="168608"/>
                  <a:pt x="186663" y="236840"/>
                  <a:pt x="186663" y="321008"/>
                </a:cubicBezTo>
                <a:cubicBezTo>
                  <a:pt x="186663" y="405176"/>
                  <a:pt x="254895" y="473408"/>
                  <a:pt x="339063" y="473408"/>
                </a:cubicBezTo>
                <a:cubicBezTo>
                  <a:pt x="423231" y="473408"/>
                  <a:pt x="491463" y="405176"/>
                  <a:pt x="491463" y="321008"/>
                </a:cubicBezTo>
                <a:cubicBezTo>
                  <a:pt x="491463" y="236840"/>
                  <a:pt x="423231" y="168608"/>
                  <a:pt x="339063" y="168608"/>
                </a:cubicBezTo>
                <a:close/>
                <a:moveTo>
                  <a:pt x="334372" y="0"/>
                </a:moveTo>
                <a:cubicBezTo>
                  <a:pt x="419945" y="0"/>
                  <a:pt x="505518" y="32645"/>
                  <a:pt x="570808" y="97935"/>
                </a:cubicBezTo>
                <a:lnTo>
                  <a:pt x="570807" y="97935"/>
                </a:lnTo>
                <a:cubicBezTo>
                  <a:pt x="701387" y="228516"/>
                  <a:pt x="701387" y="440228"/>
                  <a:pt x="570807" y="570808"/>
                </a:cubicBezTo>
                <a:lnTo>
                  <a:pt x="334372" y="807243"/>
                </a:lnTo>
                <a:lnTo>
                  <a:pt x="97935" y="570807"/>
                </a:lnTo>
                <a:cubicBezTo>
                  <a:pt x="-32645" y="440227"/>
                  <a:pt x="-32645" y="228515"/>
                  <a:pt x="97935" y="97935"/>
                </a:cubicBezTo>
                <a:cubicBezTo>
                  <a:pt x="163225" y="32645"/>
                  <a:pt x="248799" y="0"/>
                  <a:pt x="334372" y="0"/>
                </a:cubicBezTo>
                <a:close/>
              </a:path>
            </a:pathLst>
          </a:custGeom>
          <a:solidFill>
            <a:srgbClr val="0070C0"/>
          </a:solidFill>
          <a:ln w="12700" cap="flat" cmpd="sng">
            <a:noFill/>
            <a:bevel/>
          </a:ln>
        </p:spPr>
        <p:txBody>
          <a:bodyPr anchor="ctr"/>
          <a:lstStyle/>
          <a:p>
            <a:endParaRPr lang="zh-CN" altLang="en-US">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p:txBody>
          <a:bodyPr/>
          <a:lstStyle/>
          <a:p>
            <a:r>
              <a:rPr lang="zh-CN" altLang="en-US" dirty="0"/>
              <a:t>简介</a:t>
            </a:r>
            <a:endParaRPr lang="zh-CN" altLang="en-US" dirty="0"/>
          </a:p>
        </p:txBody>
      </p:sp>
      <p:sp>
        <p:nvSpPr>
          <p:cNvPr id="3" name="文本框 3"/>
          <p:cNvSpPr>
            <a:spLocks noChangeArrowheads="1"/>
          </p:cNvSpPr>
          <p:nvPr/>
        </p:nvSpPr>
        <p:spPr bwMode="auto">
          <a:xfrm>
            <a:off x="669925" y="1104265"/>
            <a:ext cx="10465435" cy="2861310"/>
          </a:xfrm>
          <a:prstGeom prst="rect">
            <a:avLst/>
          </a:prstGeom>
          <a:noFill/>
          <a:ln w="9525">
            <a:noFill/>
            <a:miter lim="800000"/>
          </a:ln>
        </p:spPr>
        <p:txBody>
          <a:bodyPr wrap="square">
            <a:spAutoFit/>
          </a:bodyPr>
          <a:lstStyle/>
          <a:p>
            <a:r>
              <a:rPr 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成立于</a:t>
            </a:r>
            <a:r>
              <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2004</a:t>
            </a:r>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年</a:t>
            </a:r>
            <a:endPar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endPar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r>
              <a:rPr 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内设部门：综合服务部、融资服务部、信息服务部、政企云平台管理组</a:t>
            </a:r>
            <a:endParaRPr 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主要职能：为中小企业、民营企业开发新技术、新产品提供信息、资金等方面咨询服务；推广先进技术、成熟、适用技术，促进技术创新；联系和引导各类中介机构为企业提供服务；承担中小企业公共服务平台建设、产业推广、人才培训项目组织、发展研究等工作；管理珠海企业服务平台（政企云）。</a:t>
            </a:r>
            <a:endPar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endPar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r>
              <a:rPr 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办公地点：珠海市香洲区康宁路</a:t>
            </a:r>
            <a:r>
              <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66</a:t>
            </a:r>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号（人社大厦）</a:t>
            </a:r>
            <a:r>
              <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层</a:t>
            </a:r>
            <a:endPar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 name="直接连接符 3"/>
          <p:cNvSpPr>
            <a:spLocks noChangeShapeType="1"/>
          </p:cNvSpPr>
          <p:nvPr/>
        </p:nvSpPr>
        <p:spPr bwMode="auto">
          <a:xfrm>
            <a:off x="854054" y="3774302"/>
            <a:ext cx="4176463" cy="0"/>
          </a:xfrm>
          <a:prstGeom prst="line">
            <a:avLst/>
          </a:prstGeom>
          <a:noFill/>
          <a:ln w="6350">
            <a:solidFill>
              <a:srgbClr val="D8D8D8"/>
            </a:solidFill>
            <a:bevel/>
          </a:ln>
        </p:spPr>
        <p:txBody>
          <a:bodyPr/>
          <a:lstStyle/>
          <a:p>
            <a:endParaRPr lang="zh-CN" altLang="en-US">
              <a:latin typeface="微软雅黑" panose="020B0503020204020204" pitchFamily="34" charset="-122"/>
              <a:ea typeface="微软雅黑" panose="020B0503020204020204" pitchFamily="34" charset="-122"/>
            </a:endParaRPr>
          </a:p>
        </p:txBody>
      </p:sp>
      <p:sp>
        <p:nvSpPr>
          <p:cNvPr id="5" name="矩形 6"/>
          <p:cNvSpPr>
            <a:spLocks noChangeArrowheads="1"/>
          </p:cNvSpPr>
          <p:nvPr/>
        </p:nvSpPr>
        <p:spPr bwMode="auto">
          <a:xfrm>
            <a:off x="669925" y="4939436"/>
            <a:ext cx="10942146" cy="64116"/>
          </a:xfrm>
          <a:prstGeom prst="rect">
            <a:avLst/>
          </a:prstGeom>
          <a:solidFill>
            <a:srgbClr val="0070C0"/>
          </a:solidFill>
          <a:ln w="12700">
            <a:no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6" name="任意多边形 16"/>
          <p:cNvSpPr>
            <a:spLocks noChangeArrowheads="1"/>
          </p:cNvSpPr>
          <p:nvPr/>
        </p:nvSpPr>
        <p:spPr bwMode="auto">
          <a:xfrm>
            <a:off x="1642939" y="4499273"/>
            <a:ext cx="217340" cy="288032"/>
          </a:xfrm>
          <a:custGeom>
            <a:avLst/>
            <a:gdLst>
              <a:gd name="T0" fmla="*/ 201222 w 668742"/>
              <a:gd name="T1" fmla="*/ 99806 h 807243"/>
              <a:gd name="T2" fmla="*/ 110778 w 668742"/>
              <a:gd name="T3" fmla="*/ 190017 h 807243"/>
              <a:gd name="T4" fmla="*/ 201222 w 668742"/>
              <a:gd name="T5" fmla="*/ 280228 h 807243"/>
              <a:gd name="T6" fmla="*/ 291666 w 668742"/>
              <a:gd name="T7" fmla="*/ 190017 h 807243"/>
              <a:gd name="T8" fmla="*/ 201222 w 668742"/>
              <a:gd name="T9" fmla="*/ 99806 h 807243"/>
              <a:gd name="T10" fmla="*/ 198438 w 668742"/>
              <a:gd name="T11" fmla="*/ 0 h 807243"/>
              <a:gd name="T12" fmla="*/ 338755 w 668742"/>
              <a:gd name="T13" fmla="*/ 57971 h 807243"/>
              <a:gd name="T14" fmla="*/ 338754 w 668742"/>
              <a:gd name="T15" fmla="*/ 57971 h 807243"/>
              <a:gd name="T16" fmla="*/ 338754 w 668742"/>
              <a:gd name="T17" fmla="*/ 337883 h 807243"/>
              <a:gd name="T18" fmla="*/ 198438 w 668742"/>
              <a:gd name="T19" fmla="*/ 477838 h 807243"/>
              <a:gd name="T20" fmla="*/ 58121 w 668742"/>
              <a:gd name="T21" fmla="*/ 337882 h 807243"/>
              <a:gd name="T22" fmla="*/ 58121 w 668742"/>
              <a:gd name="T23" fmla="*/ 57971 h 807243"/>
              <a:gd name="T24" fmla="*/ 198438 w 668742"/>
              <a:gd name="T25" fmla="*/ 0 h 8072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8742"/>
              <a:gd name="T40" fmla="*/ 0 h 807243"/>
              <a:gd name="T41" fmla="*/ 668742 w 668742"/>
              <a:gd name="T42" fmla="*/ 807243 h 8072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8742" h="807243">
                <a:moveTo>
                  <a:pt x="339063" y="168608"/>
                </a:moveTo>
                <a:cubicBezTo>
                  <a:pt x="254895" y="168608"/>
                  <a:pt x="186663" y="236840"/>
                  <a:pt x="186663" y="321008"/>
                </a:cubicBezTo>
                <a:cubicBezTo>
                  <a:pt x="186663" y="405176"/>
                  <a:pt x="254895" y="473408"/>
                  <a:pt x="339063" y="473408"/>
                </a:cubicBezTo>
                <a:cubicBezTo>
                  <a:pt x="423231" y="473408"/>
                  <a:pt x="491463" y="405176"/>
                  <a:pt x="491463" y="321008"/>
                </a:cubicBezTo>
                <a:cubicBezTo>
                  <a:pt x="491463" y="236840"/>
                  <a:pt x="423231" y="168608"/>
                  <a:pt x="339063" y="168608"/>
                </a:cubicBezTo>
                <a:close/>
                <a:moveTo>
                  <a:pt x="334372" y="0"/>
                </a:moveTo>
                <a:cubicBezTo>
                  <a:pt x="419945" y="0"/>
                  <a:pt x="505518" y="32645"/>
                  <a:pt x="570808" y="97935"/>
                </a:cubicBezTo>
                <a:lnTo>
                  <a:pt x="570807" y="97935"/>
                </a:lnTo>
                <a:cubicBezTo>
                  <a:pt x="701387" y="228516"/>
                  <a:pt x="701387" y="440228"/>
                  <a:pt x="570807" y="570808"/>
                </a:cubicBezTo>
                <a:lnTo>
                  <a:pt x="334372" y="807243"/>
                </a:lnTo>
                <a:lnTo>
                  <a:pt x="97935" y="570807"/>
                </a:lnTo>
                <a:cubicBezTo>
                  <a:pt x="-32645" y="440227"/>
                  <a:pt x="-32645" y="228515"/>
                  <a:pt x="97935" y="97935"/>
                </a:cubicBezTo>
                <a:cubicBezTo>
                  <a:pt x="163225" y="32645"/>
                  <a:pt x="248799" y="0"/>
                  <a:pt x="334372" y="0"/>
                </a:cubicBezTo>
                <a:close/>
              </a:path>
            </a:pathLst>
          </a:custGeom>
          <a:solidFill>
            <a:srgbClr val="0070C0"/>
          </a:solidFill>
          <a:ln w="12700" cap="flat" cmpd="sng">
            <a:noFill/>
            <a:bevel/>
          </a:ln>
        </p:spPr>
        <p:txBody>
          <a:bodyPr anchor="ctr"/>
          <a:lstStyle/>
          <a:p>
            <a:endParaRPr lang="zh-CN" altLang="en-US">
              <a:latin typeface="微软雅黑" panose="020B0503020204020204" pitchFamily="34" charset="-122"/>
              <a:ea typeface="微软雅黑" panose="020B0503020204020204" pitchFamily="34" charset="-122"/>
            </a:endParaRPr>
          </a:p>
        </p:txBody>
      </p:sp>
      <p:sp>
        <p:nvSpPr>
          <p:cNvPr id="7" name="任意多边形 17"/>
          <p:cNvSpPr>
            <a:spLocks noChangeArrowheads="1"/>
          </p:cNvSpPr>
          <p:nvPr/>
        </p:nvSpPr>
        <p:spPr bwMode="auto">
          <a:xfrm>
            <a:off x="4330058" y="4493193"/>
            <a:ext cx="216471" cy="288032"/>
          </a:xfrm>
          <a:custGeom>
            <a:avLst/>
            <a:gdLst>
              <a:gd name="T0" fmla="*/ 200417 w 668742"/>
              <a:gd name="T1" fmla="*/ 99806 h 807243"/>
              <a:gd name="T2" fmla="*/ 110335 w 668742"/>
              <a:gd name="T3" fmla="*/ 190017 h 807243"/>
              <a:gd name="T4" fmla="*/ 200417 w 668742"/>
              <a:gd name="T5" fmla="*/ 280228 h 807243"/>
              <a:gd name="T6" fmla="*/ 290500 w 668742"/>
              <a:gd name="T7" fmla="*/ 190017 h 807243"/>
              <a:gd name="T8" fmla="*/ 200417 w 668742"/>
              <a:gd name="T9" fmla="*/ 99806 h 807243"/>
              <a:gd name="T10" fmla="*/ 197645 w 668742"/>
              <a:gd name="T11" fmla="*/ 0 h 807243"/>
              <a:gd name="T12" fmla="*/ 337400 w 668742"/>
              <a:gd name="T13" fmla="*/ 57971 h 807243"/>
              <a:gd name="T14" fmla="*/ 337399 w 668742"/>
              <a:gd name="T15" fmla="*/ 57971 h 807243"/>
              <a:gd name="T16" fmla="*/ 337399 w 668742"/>
              <a:gd name="T17" fmla="*/ 337883 h 807243"/>
              <a:gd name="T18" fmla="*/ 197645 w 668742"/>
              <a:gd name="T19" fmla="*/ 477838 h 807243"/>
              <a:gd name="T20" fmla="*/ 57889 w 668742"/>
              <a:gd name="T21" fmla="*/ 337882 h 807243"/>
              <a:gd name="T22" fmla="*/ 57889 w 668742"/>
              <a:gd name="T23" fmla="*/ 57971 h 807243"/>
              <a:gd name="T24" fmla="*/ 197645 w 668742"/>
              <a:gd name="T25" fmla="*/ 0 h 8072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8742"/>
              <a:gd name="T40" fmla="*/ 0 h 807243"/>
              <a:gd name="T41" fmla="*/ 668742 w 668742"/>
              <a:gd name="T42" fmla="*/ 807243 h 8072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8742" h="807243">
                <a:moveTo>
                  <a:pt x="339063" y="168608"/>
                </a:moveTo>
                <a:cubicBezTo>
                  <a:pt x="254895" y="168608"/>
                  <a:pt x="186663" y="236840"/>
                  <a:pt x="186663" y="321008"/>
                </a:cubicBezTo>
                <a:cubicBezTo>
                  <a:pt x="186663" y="405176"/>
                  <a:pt x="254895" y="473408"/>
                  <a:pt x="339063" y="473408"/>
                </a:cubicBezTo>
                <a:cubicBezTo>
                  <a:pt x="423231" y="473408"/>
                  <a:pt x="491463" y="405176"/>
                  <a:pt x="491463" y="321008"/>
                </a:cubicBezTo>
                <a:cubicBezTo>
                  <a:pt x="491463" y="236840"/>
                  <a:pt x="423231" y="168608"/>
                  <a:pt x="339063" y="168608"/>
                </a:cubicBezTo>
                <a:close/>
                <a:moveTo>
                  <a:pt x="334372" y="0"/>
                </a:moveTo>
                <a:cubicBezTo>
                  <a:pt x="419945" y="0"/>
                  <a:pt x="505518" y="32645"/>
                  <a:pt x="570808" y="97935"/>
                </a:cubicBezTo>
                <a:lnTo>
                  <a:pt x="570807" y="97935"/>
                </a:lnTo>
                <a:cubicBezTo>
                  <a:pt x="701387" y="228516"/>
                  <a:pt x="701387" y="440228"/>
                  <a:pt x="570807" y="570808"/>
                </a:cubicBezTo>
                <a:lnTo>
                  <a:pt x="334372" y="807243"/>
                </a:lnTo>
                <a:lnTo>
                  <a:pt x="97935" y="570807"/>
                </a:lnTo>
                <a:cubicBezTo>
                  <a:pt x="-32645" y="440227"/>
                  <a:pt x="-32645" y="228515"/>
                  <a:pt x="97935" y="97935"/>
                </a:cubicBezTo>
                <a:cubicBezTo>
                  <a:pt x="163225" y="32645"/>
                  <a:pt x="248799" y="0"/>
                  <a:pt x="334372" y="0"/>
                </a:cubicBezTo>
                <a:close/>
              </a:path>
            </a:pathLst>
          </a:custGeom>
          <a:solidFill>
            <a:srgbClr val="0070C0"/>
          </a:solidFill>
          <a:ln w="12700" cap="flat" cmpd="sng">
            <a:noFill/>
            <a:bevel/>
          </a:ln>
        </p:spPr>
        <p:txBody>
          <a:bodyPr anchor="ctr"/>
          <a:lstStyle/>
          <a:p>
            <a:endParaRPr lang="zh-CN" altLang="en-US">
              <a:latin typeface="微软雅黑" panose="020B0503020204020204" pitchFamily="34" charset="-122"/>
              <a:ea typeface="微软雅黑" panose="020B0503020204020204" pitchFamily="34" charset="-122"/>
            </a:endParaRPr>
          </a:p>
        </p:txBody>
      </p:sp>
      <p:sp>
        <p:nvSpPr>
          <p:cNvPr id="8" name="任意多边形 27"/>
          <p:cNvSpPr>
            <a:spLocks noChangeArrowheads="1"/>
          </p:cNvSpPr>
          <p:nvPr/>
        </p:nvSpPr>
        <p:spPr bwMode="auto">
          <a:xfrm>
            <a:off x="9915423" y="4493193"/>
            <a:ext cx="216471" cy="288032"/>
          </a:xfrm>
          <a:custGeom>
            <a:avLst/>
            <a:gdLst>
              <a:gd name="T0" fmla="*/ 200417 w 668742"/>
              <a:gd name="T1" fmla="*/ 99806 h 807243"/>
              <a:gd name="T2" fmla="*/ 110335 w 668742"/>
              <a:gd name="T3" fmla="*/ 190017 h 807243"/>
              <a:gd name="T4" fmla="*/ 200417 w 668742"/>
              <a:gd name="T5" fmla="*/ 280228 h 807243"/>
              <a:gd name="T6" fmla="*/ 290500 w 668742"/>
              <a:gd name="T7" fmla="*/ 190017 h 807243"/>
              <a:gd name="T8" fmla="*/ 200417 w 668742"/>
              <a:gd name="T9" fmla="*/ 99806 h 807243"/>
              <a:gd name="T10" fmla="*/ 197645 w 668742"/>
              <a:gd name="T11" fmla="*/ 0 h 807243"/>
              <a:gd name="T12" fmla="*/ 337400 w 668742"/>
              <a:gd name="T13" fmla="*/ 57971 h 807243"/>
              <a:gd name="T14" fmla="*/ 337399 w 668742"/>
              <a:gd name="T15" fmla="*/ 57971 h 807243"/>
              <a:gd name="T16" fmla="*/ 337399 w 668742"/>
              <a:gd name="T17" fmla="*/ 337883 h 807243"/>
              <a:gd name="T18" fmla="*/ 197645 w 668742"/>
              <a:gd name="T19" fmla="*/ 477838 h 807243"/>
              <a:gd name="T20" fmla="*/ 57889 w 668742"/>
              <a:gd name="T21" fmla="*/ 337882 h 807243"/>
              <a:gd name="T22" fmla="*/ 57889 w 668742"/>
              <a:gd name="T23" fmla="*/ 57971 h 807243"/>
              <a:gd name="T24" fmla="*/ 197645 w 668742"/>
              <a:gd name="T25" fmla="*/ 0 h 8072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8742"/>
              <a:gd name="T40" fmla="*/ 0 h 807243"/>
              <a:gd name="T41" fmla="*/ 668742 w 668742"/>
              <a:gd name="T42" fmla="*/ 807243 h 8072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8742" h="807243">
                <a:moveTo>
                  <a:pt x="339063" y="168608"/>
                </a:moveTo>
                <a:cubicBezTo>
                  <a:pt x="254895" y="168608"/>
                  <a:pt x="186663" y="236840"/>
                  <a:pt x="186663" y="321008"/>
                </a:cubicBezTo>
                <a:cubicBezTo>
                  <a:pt x="186663" y="405176"/>
                  <a:pt x="254895" y="473408"/>
                  <a:pt x="339063" y="473408"/>
                </a:cubicBezTo>
                <a:cubicBezTo>
                  <a:pt x="423231" y="473408"/>
                  <a:pt x="491463" y="405176"/>
                  <a:pt x="491463" y="321008"/>
                </a:cubicBezTo>
                <a:cubicBezTo>
                  <a:pt x="491463" y="236840"/>
                  <a:pt x="423231" y="168608"/>
                  <a:pt x="339063" y="168608"/>
                </a:cubicBezTo>
                <a:close/>
                <a:moveTo>
                  <a:pt x="334372" y="0"/>
                </a:moveTo>
                <a:cubicBezTo>
                  <a:pt x="419945" y="0"/>
                  <a:pt x="505518" y="32645"/>
                  <a:pt x="570808" y="97935"/>
                </a:cubicBezTo>
                <a:lnTo>
                  <a:pt x="570807" y="97935"/>
                </a:lnTo>
                <a:cubicBezTo>
                  <a:pt x="701387" y="228516"/>
                  <a:pt x="701387" y="440228"/>
                  <a:pt x="570807" y="570808"/>
                </a:cubicBezTo>
                <a:lnTo>
                  <a:pt x="334372" y="807243"/>
                </a:lnTo>
                <a:lnTo>
                  <a:pt x="97935" y="570807"/>
                </a:lnTo>
                <a:cubicBezTo>
                  <a:pt x="-32645" y="440227"/>
                  <a:pt x="-32645" y="228515"/>
                  <a:pt x="97935" y="97935"/>
                </a:cubicBezTo>
                <a:cubicBezTo>
                  <a:pt x="163225" y="32645"/>
                  <a:pt x="248799" y="0"/>
                  <a:pt x="334372" y="0"/>
                </a:cubicBezTo>
                <a:close/>
              </a:path>
            </a:pathLst>
          </a:custGeom>
          <a:solidFill>
            <a:srgbClr val="0070C0"/>
          </a:solidFill>
          <a:ln w="12700" cap="flat" cmpd="sng">
            <a:noFill/>
            <a:bevel/>
          </a:ln>
        </p:spPr>
        <p:txBody>
          <a:bodyPr anchor="ctr"/>
          <a:lstStyle/>
          <a:p>
            <a:endParaRPr lang="zh-CN" altLang="en-US">
              <a:latin typeface="微软雅黑" panose="020B0503020204020204" pitchFamily="34" charset="-122"/>
              <a:ea typeface="微软雅黑" panose="020B0503020204020204" pitchFamily="34" charset="-122"/>
            </a:endParaRPr>
          </a:p>
        </p:txBody>
      </p:sp>
      <p:sp>
        <p:nvSpPr>
          <p:cNvPr id="10" name="椭圆 14"/>
          <p:cNvSpPr>
            <a:spLocks noChangeArrowheads="1"/>
          </p:cNvSpPr>
          <p:nvPr/>
        </p:nvSpPr>
        <p:spPr bwMode="auto">
          <a:xfrm>
            <a:off x="1680776" y="4855518"/>
            <a:ext cx="141666" cy="146051"/>
          </a:xfrm>
          <a:prstGeom prst="ellipse">
            <a:avLst/>
          </a:prstGeom>
          <a:solidFill>
            <a:srgbClr val="0070C0"/>
          </a:solidFill>
          <a:ln w="28575">
            <a:solidFill>
              <a:schemeClr val="bg1">
                <a:lumMod val="65000"/>
              </a:schemeClr>
            </a:solid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11" name="椭圆 30"/>
          <p:cNvSpPr>
            <a:spLocks noChangeArrowheads="1"/>
          </p:cNvSpPr>
          <p:nvPr/>
        </p:nvSpPr>
        <p:spPr bwMode="auto">
          <a:xfrm>
            <a:off x="4368231" y="4849438"/>
            <a:ext cx="140126" cy="146051"/>
          </a:xfrm>
          <a:prstGeom prst="ellipse">
            <a:avLst/>
          </a:prstGeom>
          <a:solidFill>
            <a:srgbClr val="0070C0"/>
          </a:solidFill>
          <a:ln w="28575">
            <a:solidFill>
              <a:schemeClr val="bg1">
                <a:lumMod val="65000"/>
              </a:schemeClr>
            </a:solid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12" name="椭圆 32"/>
          <p:cNvSpPr>
            <a:spLocks noChangeArrowheads="1"/>
          </p:cNvSpPr>
          <p:nvPr/>
        </p:nvSpPr>
        <p:spPr bwMode="auto">
          <a:xfrm>
            <a:off x="7363986" y="4868307"/>
            <a:ext cx="141666" cy="146051"/>
          </a:xfrm>
          <a:prstGeom prst="ellipse">
            <a:avLst/>
          </a:prstGeom>
          <a:solidFill>
            <a:srgbClr val="0070C0"/>
          </a:solidFill>
          <a:ln w="28575">
            <a:solidFill>
              <a:schemeClr val="bg1">
                <a:lumMod val="65000"/>
              </a:schemeClr>
            </a:solid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13" name="椭圆 35"/>
          <p:cNvSpPr>
            <a:spLocks noChangeArrowheads="1"/>
          </p:cNvSpPr>
          <p:nvPr/>
        </p:nvSpPr>
        <p:spPr bwMode="auto">
          <a:xfrm>
            <a:off x="9953596" y="4853233"/>
            <a:ext cx="140126" cy="146051"/>
          </a:xfrm>
          <a:prstGeom prst="ellipse">
            <a:avLst/>
          </a:prstGeom>
          <a:solidFill>
            <a:srgbClr val="0070C0"/>
          </a:solidFill>
          <a:ln w="28575">
            <a:solidFill>
              <a:schemeClr val="bg1">
                <a:lumMod val="65000"/>
              </a:schemeClr>
            </a:solid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15" name="文本框 37"/>
          <p:cNvSpPr>
            <a:spLocks noChangeArrowheads="1"/>
          </p:cNvSpPr>
          <p:nvPr/>
        </p:nvSpPr>
        <p:spPr bwMode="auto">
          <a:xfrm>
            <a:off x="786765" y="5258435"/>
            <a:ext cx="1721485" cy="1168400"/>
          </a:xfrm>
          <a:prstGeom prst="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微信公众号</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政企云</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目前关注</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1.1</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万人，发布政务信息</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2.7</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万条，撮合企业融资超</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400</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亿元。</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文本框 37"/>
          <p:cNvSpPr>
            <a:spLocks noChangeArrowheads="1"/>
          </p:cNvSpPr>
          <p:nvPr/>
        </p:nvSpPr>
        <p:spPr bwMode="auto">
          <a:xfrm>
            <a:off x="3321592" y="5257924"/>
            <a:ext cx="2233402" cy="1168400"/>
          </a:xfrm>
          <a:prstGeom prst="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四位一体”融资模式累计为中小微企业贷款2</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8</a:t>
            </a:r>
            <a:r>
              <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85笔共计</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205</a:t>
            </a:r>
            <a:r>
              <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86亿元,</a:t>
            </a:r>
            <a:endPar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a:p>
            <a:pPr algn="ctr"/>
            <a:r>
              <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累计滚动使用政府风险准备金</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18</a:t>
            </a:r>
            <a:r>
              <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亿元。      </a:t>
            </a:r>
            <a:endPar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文本框 37"/>
          <p:cNvSpPr>
            <a:spLocks noChangeArrowheads="1"/>
          </p:cNvSpPr>
          <p:nvPr/>
        </p:nvSpPr>
        <p:spPr bwMode="auto">
          <a:xfrm>
            <a:off x="6525487" y="5257924"/>
            <a:ext cx="1960329" cy="521970"/>
          </a:xfrm>
          <a:prstGeom prst="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为</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1781</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家</a:t>
            </a:r>
            <a:r>
              <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中小企业申贴息</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1.78</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亿元</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文本框 37"/>
          <p:cNvSpPr>
            <a:spLocks noChangeArrowheads="1"/>
          </p:cNvSpPr>
          <p:nvPr/>
        </p:nvSpPr>
        <p:spPr bwMode="auto">
          <a:xfrm>
            <a:off x="9206681" y="5257924"/>
            <a:ext cx="1656184" cy="1168400"/>
          </a:xfrm>
          <a:prstGeom prst="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组织珠海市中小民营企业家参加市内培训</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1500</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场，省外高校</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18</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班次，参加人数约十万人。</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 name="文本框 20"/>
          <p:cNvSpPr txBox="1"/>
          <p:nvPr/>
        </p:nvSpPr>
        <p:spPr>
          <a:xfrm>
            <a:off x="669925" y="3903345"/>
            <a:ext cx="10465435" cy="368300"/>
          </a:xfrm>
          <a:prstGeom prst="rect">
            <a:avLst/>
          </a:prstGeom>
          <a:noFill/>
        </p:spPr>
        <p:txBody>
          <a:bodyPr wrap="square" rtlCol="0" anchor="t">
            <a:spAutoFit/>
          </a:bodyPr>
          <a:p>
            <a:r>
              <a:rPr lang="zh-CN" altLang="en-US">
                <a:solidFill>
                  <a:srgbClr val="FF0000"/>
                </a:solidFill>
              </a:rPr>
              <a:t>服务宗旨：为企业服务、服务好企业</a:t>
            </a:r>
            <a:endParaRPr lang="zh-CN" altLang="en-US">
              <a:solidFill>
                <a:srgbClr val="FF0000"/>
              </a:solidFill>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p:cBhvr>
                                        <p:cTn id="7" dur="250"/>
                                        <p:tgtEl>
                                          <p:spTgt spid="4"/>
                                        </p:tgtEl>
                                      </p:cBhvr>
                                    </p:animEffect>
                                  </p:childTnLst>
                                </p:cTn>
                              </p:par>
                            </p:childTnLst>
                          </p:cTn>
                        </p:par>
                        <p:par>
                          <p:cTn id="8" fill="hold">
                            <p:stCondLst>
                              <p:cond delay="500"/>
                            </p:stCondLst>
                            <p:childTnLst>
                              <p:par>
                                <p:cTn id="9" presetID="12" presetClass="entr" presetSubtype="4"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p:tgtEl>
                                          <p:spTgt spid="3"/>
                                        </p:tgtEl>
                                        <p:attrNameLst>
                                          <p:attrName>ppt_y</p:attrName>
                                        </p:attrNameLst>
                                      </p:cBhvr>
                                      <p:tavLst>
                                        <p:tav tm="0">
                                          <p:val>
                                            <p:strVal val="#ppt_y+#ppt_h*1.125000"/>
                                          </p:val>
                                        </p:tav>
                                        <p:tav tm="100000">
                                          <p:val>
                                            <p:strVal val="#ppt_y"/>
                                          </p:val>
                                        </p:tav>
                                      </p:tavLst>
                                    </p:anim>
                                    <p:animEffect>
                                      <p:cBhvr>
                                        <p:cTn id="12" dur="500"/>
                                        <p:tgtEl>
                                          <p:spTgt spid="3"/>
                                        </p:tgtEl>
                                      </p:cBhvr>
                                    </p:animEffect>
                                  </p:childTnLst>
                                </p:cTn>
                              </p:par>
                            </p:childTnLst>
                          </p:cTn>
                        </p:par>
                        <p:par>
                          <p:cTn id="13" fill="hold">
                            <p:stCondLst>
                              <p:cond delay="1000"/>
                            </p:stCondLst>
                            <p:childTnLst>
                              <p:par>
                                <p:cTn id="14" presetID="22" presetClass="entr" presetSubtype="8" fill="hold" grpId="0" nodeType="afterEffect">
                                  <p:stCondLst>
                                    <p:cond delay="250"/>
                                  </p:stCondLst>
                                  <p:childTnLst>
                                    <p:set>
                                      <p:cBhvr>
                                        <p:cTn id="15" dur="1" fill="hold">
                                          <p:stCondLst>
                                            <p:cond delay="0"/>
                                          </p:stCondLst>
                                        </p:cTn>
                                        <p:tgtEl>
                                          <p:spTgt spid="5"/>
                                        </p:tgtEl>
                                        <p:attrNameLst>
                                          <p:attrName>style.visibility</p:attrName>
                                        </p:attrNameLst>
                                      </p:cBhvr>
                                      <p:to>
                                        <p:strVal val="visible"/>
                                      </p:to>
                                    </p:set>
                                    <p:animEffect>
                                      <p:cBhvr>
                                        <p:cTn id="16" dur="500"/>
                                        <p:tgtEl>
                                          <p:spTgt spid="5"/>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 fill="hold"/>
                                        <p:tgtEl>
                                          <p:spTgt spid="10"/>
                                        </p:tgtEl>
                                        <p:attrNameLst>
                                          <p:attrName>ppt_w</p:attrName>
                                        </p:attrNameLst>
                                      </p:cBhvr>
                                      <p:tavLst>
                                        <p:tav tm="0">
                                          <p:val>
                                            <p:fltVal val="0"/>
                                          </p:val>
                                        </p:tav>
                                        <p:tav tm="100000">
                                          <p:val>
                                            <p:strVal val="#ppt_w"/>
                                          </p:val>
                                        </p:tav>
                                      </p:tavLst>
                                    </p:anim>
                                    <p:anim calcmode="lin" valueType="num">
                                      <p:cBhvr>
                                        <p:cTn id="20" dur="100" fill="hold"/>
                                        <p:tgtEl>
                                          <p:spTgt spid="10"/>
                                        </p:tgtEl>
                                        <p:attrNameLst>
                                          <p:attrName>ppt_h</p:attrName>
                                        </p:attrNameLst>
                                      </p:cBhvr>
                                      <p:tavLst>
                                        <p:tav tm="0">
                                          <p:val>
                                            <p:fltVal val="0"/>
                                          </p:val>
                                        </p:tav>
                                        <p:tav tm="100000">
                                          <p:val>
                                            <p:strVal val="#ppt_h"/>
                                          </p:val>
                                        </p:tav>
                                      </p:tavLst>
                                    </p:anim>
                                    <p:animEffect>
                                      <p:cBhvr>
                                        <p:cTn id="21" dur="100"/>
                                        <p:tgtEl>
                                          <p:spTgt spid="10"/>
                                        </p:tgtEl>
                                      </p:cBhvr>
                                    </p:animEffect>
                                  </p:childTnLst>
                                </p:cTn>
                              </p:par>
                              <p:par>
                                <p:cTn id="22" presetID="10" presetClass="entr" presetSubtype="0" fill="hold" grpId="0" nodeType="withEffect">
                                  <p:stCondLst>
                                    <p:cond delay="350"/>
                                  </p:stCondLst>
                                  <p:childTnLst>
                                    <p:set>
                                      <p:cBhvr>
                                        <p:cTn id="23" dur="1" fill="hold">
                                          <p:stCondLst>
                                            <p:cond delay="0"/>
                                          </p:stCondLst>
                                        </p:cTn>
                                        <p:tgtEl>
                                          <p:spTgt spid="11"/>
                                        </p:tgtEl>
                                        <p:attrNameLst>
                                          <p:attrName>style.visibility</p:attrName>
                                        </p:attrNameLst>
                                      </p:cBhvr>
                                      <p:to>
                                        <p:strVal val="visible"/>
                                      </p:to>
                                    </p:set>
                                    <p:anim calcmode="lin" valueType="num">
                                      <p:cBhvr>
                                        <p:cTn id="24" dur="100" fill="hold"/>
                                        <p:tgtEl>
                                          <p:spTgt spid="11"/>
                                        </p:tgtEl>
                                        <p:attrNameLst>
                                          <p:attrName>ppt_w</p:attrName>
                                        </p:attrNameLst>
                                      </p:cBhvr>
                                      <p:tavLst>
                                        <p:tav tm="0">
                                          <p:val>
                                            <p:fltVal val="0"/>
                                          </p:val>
                                        </p:tav>
                                        <p:tav tm="100000">
                                          <p:val>
                                            <p:strVal val="#ppt_w"/>
                                          </p:val>
                                        </p:tav>
                                      </p:tavLst>
                                    </p:anim>
                                    <p:anim calcmode="lin" valueType="num">
                                      <p:cBhvr>
                                        <p:cTn id="25" dur="100" fill="hold"/>
                                        <p:tgtEl>
                                          <p:spTgt spid="11"/>
                                        </p:tgtEl>
                                        <p:attrNameLst>
                                          <p:attrName>ppt_h</p:attrName>
                                        </p:attrNameLst>
                                      </p:cBhvr>
                                      <p:tavLst>
                                        <p:tav tm="0">
                                          <p:val>
                                            <p:fltVal val="0"/>
                                          </p:val>
                                        </p:tav>
                                        <p:tav tm="100000">
                                          <p:val>
                                            <p:strVal val="#ppt_h"/>
                                          </p:val>
                                        </p:tav>
                                      </p:tavLst>
                                    </p:anim>
                                    <p:animEffect>
                                      <p:cBhvr>
                                        <p:cTn id="26" dur="100"/>
                                        <p:tgtEl>
                                          <p:spTgt spid="11"/>
                                        </p:tgtEl>
                                      </p:cBhvr>
                                    </p:animEffect>
                                  </p:childTnLst>
                                </p:cTn>
                              </p:par>
                              <p:par>
                                <p:cTn id="27" presetID="10" presetClass="entr" presetSubtype="0" fill="hold" grpId="0" nodeType="withEffect">
                                  <p:stCondLst>
                                    <p:cond delay="550"/>
                                  </p:stCondLst>
                                  <p:childTnLst>
                                    <p:set>
                                      <p:cBhvr>
                                        <p:cTn id="28" dur="1" fill="hold">
                                          <p:stCondLst>
                                            <p:cond delay="0"/>
                                          </p:stCondLst>
                                        </p:cTn>
                                        <p:tgtEl>
                                          <p:spTgt spid="12"/>
                                        </p:tgtEl>
                                        <p:attrNameLst>
                                          <p:attrName>style.visibility</p:attrName>
                                        </p:attrNameLst>
                                      </p:cBhvr>
                                      <p:to>
                                        <p:strVal val="visible"/>
                                      </p:to>
                                    </p:set>
                                    <p:anim calcmode="lin" valueType="num">
                                      <p:cBhvr>
                                        <p:cTn id="29" dur="100" fill="hold"/>
                                        <p:tgtEl>
                                          <p:spTgt spid="12"/>
                                        </p:tgtEl>
                                        <p:attrNameLst>
                                          <p:attrName>ppt_w</p:attrName>
                                        </p:attrNameLst>
                                      </p:cBhvr>
                                      <p:tavLst>
                                        <p:tav tm="0">
                                          <p:val>
                                            <p:fltVal val="0"/>
                                          </p:val>
                                        </p:tav>
                                        <p:tav tm="100000">
                                          <p:val>
                                            <p:strVal val="#ppt_w"/>
                                          </p:val>
                                        </p:tav>
                                      </p:tavLst>
                                    </p:anim>
                                    <p:anim calcmode="lin" valueType="num">
                                      <p:cBhvr>
                                        <p:cTn id="30" dur="100" fill="hold"/>
                                        <p:tgtEl>
                                          <p:spTgt spid="12"/>
                                        </p:tgtEl>
                                        <p:attrNameLst>
                                          <p:attrName>ppt_h</p:attrName>
                                        </p:attrNameLst>
                                      </p:cBhvr>
                                      <p:tavLst>
                                        <p:tav tm="0">
                                          <p:val>
                                            <p:fltVal val="0"/>
                                          </p:val>
                                        </p:tav>
                                        <p:tav tm="100000">
                                          <p:val>
                                            <p:strVal val="#ppt_h"/>
                                          </p:val>
                                        </p:tav>
                                      </p:tavLst>
                                    </p:anim>
                                    <p:animEffect>
                                      <p:cBhvr>
                                        <p:cTn id="31" dur="100"/>
                                        <p:tgtEl>
                                          <p:spTgt spid="12"/>
                                        </p:tgtEl>
                                      </p:cBhvr>
                                    </p:animEffect>
                                  </p:childTnLst>
                                </p:cTn>
                              </p:par>
                              <p:par>
                                <p:cTn id="32" presetID="10" presetClass="entr" presetSubtype="0" fill="hold" grpId="0" nodeType="withEffect">
                                  <p:stCondLst>
                                    <p:cond delay="650"/>
                                  </p:stCondLst>
                                  <p:childTnLst>
                                    <p:set>
                                      <p:cBhvr>
                                        <p:cTn id="33" dur="1" fill="hold">
                                          <p:stCondLst>
                                            <p:cond delay="0"/>
                                          </p:stCondLst>
                                        </p:cTn>
                                        <p:tgtEl>
                                          <p:spTgt spid="13"/>
                                        </p:tgtEl>
                                        <p:attrNameLst>
                                          <p:attrName>style.visibility</p:attrName>
                                        </p:attrNameLst>
                                      </p:cBhvr>
                                      <p:to>
                                        <p:strVal val="visible"/>
                                      </p:to>
                                    </p:set>
                                    <p:anim calcmode="lin" valueType="num">
                                      <p:cBhvr>
                                        <p:cTn id="34" dur="100" fill="hold"/>
                                        <p:tgtEl>
                                          <p:spTgt spid="13"/>
                                        </p:tgtEl>
                                        <p:attrNameLst>
                                          <p:attrName>ppt_w</p:attrName>
                                        </p:attrNameLst>
                                      </p:cBhvr>
                                      <p:tavLst>
                                        <p:tav tm="0">
                                          <p:val>
                                            <p:fltVal val="0"/>
                                          </p:val>
                                        </p:tav>
                                        <p:tav tm="100000">
                                          <p:val>
                                            <p:strVal val="#ppt_w"/>
                                          </p:val>
                                        </p:tav>
                                      </p:tavLst>
                                    </p:anim>
                                    <p:anim calcmode="lin" valueType="num">
                                      <p:cBhvr>
                                        <p:cTn id="35" dur="100" fill="hold"/>
                                        <p:tgtEl>
                                          <p:spTgt spid="13"/>
                                        </p:tgtEl>
                                        <p:attrNameLst>
                                          <p:attrName>ppt_h</p:attrName>
                                        </p:attrNameLst>
                                      </p:cBhvr>
                                      <p:tavLst>
                                        <p:tav tm="0">
                                          <p:val>
                                            <p:fltVal val="0"/>
                                          </p:val>
                                        </p:tav>
                                        <p:tav tm="100000">
                                          <p:val>
                                            <p:strVal val="#ppt_h"/>
                                          </p:val>
                                        </p:tav>
                                      </p:tavLst>
                                    </p:anim>
                                    <p:animEffect>
                                      <p:cBhvr>
                                        <p:cTn id="36" dur="100"/>
                                        <p:tgtEl>
                                          <p:spTgt spid="13"/>
                                        </p:tgtEl>
                                      </p:cBhvr>
                                    </p:animEffect>
                                  </p:childTnLst>
                                </p:cTn>
                              </p:par>
                            </p:childTnLst>
                          </p:cTn>
                        </p:par>
                        <p:par>
                          <p:cTn id="37" fill="hold">
                            <p:stCondLst>
                              <p:cond delay="1750"/>
                            </p:stCondLst>
                            <p:childTnLst>
                              <p:par>
                                <p:cTn id="38" presetID="49" presetClass="entr" presetSubtype="0" decel="100000" fill="hold" grpId="0" nodeType="afterEffect">
                                  <p:stCondLst>
                                    <p:cond delay="0"/>
                                  </p:stCondLst>
                                  <p:childTnLst>
                                    <p:set>
                                      <p:cBhvr>
                                        <p:cTn id="39" dur="1" fill="hold">
                                          <p:stCondLst>
                                            <p:cond delay="0"/>
                                          </p:stCondLst>
                                        </p:cTn>
                                        <p:tgtEl>
                                          <p:spTgt spid="6"/>
                                        </p:tgtEl>
                                        <p:attrNameLst>
                                          <p:attrName>style.visibility</p:attrName>
                                        </p:attrNameLst>
                                      </p:cBhvr>
                                      <p:to>
                                        <p:strVal val="visible"/>
                                      </p:to>
                                    </p:set>
                                    <p:anim calcmode="lin" valueType="num">
                                      <p:cBhvr>
                                        <p:cTn id="40" dur="350" fill="hold"/>
                                        <p:tgtEl>
                                          <p:spTgt spid="6"/>
                                        </p:tgtEl>
                                        <p:attrNameLst>
                                          <p:attrName>ppt_w</p:attrName>
                                        </p:attrNameLst>
                                      </p:cBhvr>
                                      <p:tavLst>
                                        <p:tav tm="0">
                                          <p:val>
                                            <p:fltVal val="0"/>
                                          </p:val>
                                        </p:tav>
                                        <p:tav tm="100000">
                                          <p:val>
                                            <p:strVal val="#ppt_w"/>
                                          </p:val>
                                        </p:tav>
                                      </p:tavLst>
                                    </p:anim>
                                    <p:anim calcmode="lin" valueType="num">
                                      <p:cBhvr>
                                        <p:cTn id="41" dur="350" fill="hold"/>
                                        <p:tgtEl>
                                          <p:spTgt spid="6"/>
                                        </p:tgtEl>
                                        <p:attrNameLst>
                                          <p:attrName>ppt_h</p:attrName>
                                        </p:attrNameLst>
                                      </p:cBhvr>
                                      <p:tavLst>
                                        <p:tav tm="0">
                                          <p:val>
                                            <p:fltVal val="0"/>
                                          </p:val>
                                        </p:tav>
                                        <p:tav tm="100000">
                                          <p:val>
                                            <p:strVal val="#ppt_h"/>
                                          </p:val>
                                        </p:tav>
                                      </p:tavLst>
                                    </p:anim>
                                    <p:anim calcmode="lin" valueType="num">
                                      <p:cBhvr>
                                        <p:cTn id="42" dur="350" fill="hold"/>
                                        <p:tgtEl>
                                          <p:spTgt spid="6"/>
                                        </p:tgtEl>
                                        <p:attrNameLst>
                                          <p:attrName>style.rotation</p:attrName>
                                        </p:attrNameLst>
                                      </p:cBhvr>
                                      <p:tavLst>
                                        <p:tav tm="0">
                                          <p:val>
                                            <p:fltVal val="360"/>
                                          </p:val>
                                        </p:tav>
                                        <p:tav tm="100000">
                                          <p:val>
                                            <p:fltVal val="0"/>
                                          </p:val>
                                        </p:tav>
                                      </p:tavLst>
                                    </p:anim>
                                    <p:animEffect>
                                      <p:cBhvr>
                                        <p:cTn id="43" dur="350"/>
                                        <p:tgtEl>
                                          <p:spTgt spid="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p:cBhvr>
                                        <p:cTn id="46" dur="350"/>
                                        <p:tgtEl>
                                          <p:spTgt spid="15"/>
                                        </p:tgtEl>
                                      </p:cBhvr>
                                    </p:animEffect>
                                  </p:childTnLst>
                                </p:cTn>
                              </p:par>
                            </p:childTnLst>
                          </p:cTn>
                        </p:par>
                        <p:par>
                          <p:cTn id="47" fill="hold">
                            <p:stCondLst>
                              <p:cond delay="2250"/>
                            </p:stCondLst>
                            <p:childTnLst>
                              <p:par>
                                <p:cTn id="48" presetID="49" presetClass="entr" presetSubtype="0" decel="100000" fill="hold" grpId="0" nodeType="afterEffect">
                                  <p:stCondLst>
                                    <p:cond delay="0"/>
                                  </p:stCondLst>
                                  <p:childTnLst>
                                    <p:set>
                                      <p:cBhvr>
                                        <p:cTn id="49" dur="1" fill="hold">
                                          <p:stCondLst>
                                            <p:cond delay="0"/>
                                          </p:stCondLst>
                                        </p:cTn>
                                        <p:tgtEl>
                                          <p:spTgt spid="7"/>
                                        </p:tgtEl>
                                        <p:attrNameLst>
                                          <p:attrName>style.visibility</p:attrName>
                                        </p:attrNameLst>
                                      </p:cBhvr>
                                      <p:to>
                                        <p:strVal val="visible"/>
                                      </p:to>
                                    </p:set>
                                    <p:anim calcmode="lin" valueType="num">
                                      <p:cBhvr>
                                        <p:cTn id="50" dur="350" fill="hold"/>
                                        <p:tgtEl>
                                          <p:spTgt spid="7"/>
                                        </p:tgtEl>
                                        <p:attrNameLst>
                                          <p:attrName>ppt_w</p:attrName>
                                        </p:attrNameLst>
                                      </p:cBhvr>
                                      <p:tavLst>
                                        <p:tav tm="0">
                                          <p:val>
                                            <p:fltVal val="0"/>
                                          </p:val>
                                        </p:tav>
                                        <p:tav tm="100000">
                                          <p:val>
                                            <p:strVal val="#ppt_w"/>
                                          </p:val>
                                        </p:tav>
                                      </p:tavLst>
                                    </p:anim>
                                    <p:anim calcmode="lin" valueType="num">
                                      <p:cBhvr>
                                        <p:cTn id="51" dur="350" fill="hold"/>
                                        <p:tgtEl>
                                          <p:spTgt spid="7"/>
                                        </p:tgtEl>
                                        <p:attrNameLst>
                                          <p:attrName>ppt_h</p:attrName>
                                        </p:attrNameLst>
                                      </p:cBhvr>
                                      <p:tavLst>
                                        <p:tav tm="0">
                                          <p:val>
                                            <p:fltVal val="0"/>
                                          </p:val>
                                        </p:tav>
                                        <p:tav tm="100000">
                                          <p:val>
                                            <p:strVal val="#ppt_h"/>
                                          </p:val>
                                        </p:tav>
                                      </p:tavLst>
                                    </p:anim>
                                    <p:anim calcmode="lin" valueType="num">
                                      <p:cBhvr>
                                        <p:cTn id="52" dur="350" fill="hold"/>
                                        <p:tgtEl>
                                          <p:spTgt spid="7"/>
                                        </p:tgtEl>
                                        <p:attrNameLst>
                                          <p:attrName>style.rotation</p:attrName>
                                        </p:attrNameLst>
                                      </p:cBhvr>
                                      <p:tavLst>
                                        <p:tav tm="0">
                                          <p:val>
                                            <p:fltVal val="360"/>
                                          </p:val>
                                        </p:tav>
                                        <p:tav tm="100000">
                                          <p:val>
                                            <p:fltVal val="0"/>
                                          </p:val>
                                        </p:tav>
                                      </p:tavLst>
                                    </p:anim>
                                    <p:animEffect>
                                      <p:cBhvr>
                                        <p:cTn id="53" dur="350"/>
                                        <p:tgtEl>
                                          <p:spTgt spid="7"/>
                                        </p:tgtEl>
                                      </p:cBhvr>
                                    </p:animEffect>
                                  </p:childTnLst>
                                </p:cTn>
                              </p:par>
                            </p:childTnLst>
                          </p:cTn>
                        </p:par>
                        <p:par>
                          <p:cTn id="54" fill="hold">
                            <p:stCondLst>
                              <p:cond delay="2750"/>
                            </p:stCondLst>
                            <p:childTnLst>
                              <p:par>
                                <p:cTn id="55" presetID="49" presetClass="entr" presetSubtype="0" decel="100000" fill="hold" grpId="0" nodeType="afterEffect">
                                  <p:stCondLst>
                                    <p:cond delay="0"/>
                                  </p:stCondLst>
                                  <p:childTnLst>
                                    <p:set>
                                      <p:cBhvr>
                                        <p:cTn id="56" dur="1" fill="hold">
                                          <p:stCondLst>
                                            <p:cond delay="0"/>
                                          </p:stCondLst>
                                        </p:cTn>
                                        <p:tgtEl>
                                          <p:spTgt spid="9"/>
                                        </p:tgtEl>
                                        <p:attrNameLst>
                                          <p:attrName>style.visibility</p:attrName>
                                        </p:attrNameLst>
                                      </p:cBhvr>
                                      <p:to>
                                        <p:strVal val="visible"/>
                                      </p:to>
                                    </p:set>
                                    <p:anim calcmode="lin" valueType="num">
                                      <p:cBhvr>
                                        <p:cTn id="57" dur="350" fill="hold"/>
                                        <p:tgtEl>
                                          <p:spTgt spid="9"/>
                                        </p:tgtEl>
                                        <p:attrNameLst>
                                          <p:attrName>ppt_w</p:attrName>
                                        </p:attrNameLst>
                                      </p:cBhvr>
                                      <p:tavLst>
                                        <p:tav tm="0">
                                          <p:val>
                                            <p:fltVal val="0"/>
                                          </p:val>
                                        </p:tav>
                                        <p:tav tm="100000">
                                          <p:val>
                                            <p:strVal val="#ppt_w"/>
                                          </p:val>
                                        </p:tav>
                                      </p:tavLst>
                                    </p:anim>
                                    <p:anim calcmode="lin" valueType="num">
                                      <p:cBhvr>
                                        <p:cTn id="58" dur="350" fill="hold"/>
                                        <p:tgtEl>
                                          <p:spTgt spid="9"/>
                                        </p:tgtEl>
                                        <p:attrNameLst>
                                          <p:attrName>ppt_h</p:attrName>
                                        </p:attrNameLst>
                                      </p:cBhvr>
                                      <p:tavLst>
                                        <p:tav tm="0">
                                          <p:val>
                                            <p:fltVal val="0"/>
                                          </p:val>
                                        </p:tav>
                                        <p:tav tm="100000">
                                          <p:val>
                                            <p:strVal val="#ppt_h"/>
                                          </p:val>
                                        </p:tav>
                                      </p:tavLst>
                                    </p:anim>
                                    <p:anim calcmode="lin" valueType="num">
                                      <p:cBhvr>
                                        <p:cTn id="59" dur="350" fill="hold"/>
                                        <p:tgtEl>
                                          <p:spTgt spid="9"/>
                                        </p:tgtEl>
                                        <p:attrNameLst>
                                          <p:attrName>style.rotation</p:attrName>
                                        </p:attrNameLst>
                                      </p:cBhvr>
                                      <p:tavLst>
                                        <p:tav tm="0">
                                          <p:val>
                                            <p:fltVal val="360"/>
                                          </p:val>
                                        </p:tav>
                                        <p:tav tm="100000">
                                          <p:val>
                                            <p:fltVal val="0"/>
                                          </p:val>
                                        </p:tav>
                                      </p:tavLst>
                                    </p:anim>
                                    <p:animEffect>
                                      <p:cBhvr>
                                        <p:cTn id="60" dur="350"/>
                                        <p:tgtEl>
                                          <p:spTgt spid="9"/>
                                        </p:tgtEl>
                                      </p:cBhvr>
                                    </p:animEffect>
                                  </p:childTnLst>
                                </p:cTn>
                              </p:par>
                            </p:childTnLst>
                          </p:cTn>
                        </p:par>
                        <p:par>
                          <p:cTn id="61" fill="hold">
                            <p:stCondLst>
                              <p:cond delay="3250"/>
                            </p:stCondLst>
                            <p:childTnLst>
                              <p:par>
                                <p:cTn id="62" presetID="49" presetClass="entr" presetSubtype="0" decel="100000" fill="hold" grpId="0" nodeType="afterEffect">
                                  <p:stCondLst>
                                    <p:cond delay="0"/>
                                  </p:stCondLst>
                                  <p:childTnLst>
                                    <p:set>
                                      <p:cBhvr>
                                        <p:cTn id="63" dur="1" fill="hold">
                                          <p:stCondLst>
                                            <p:cond delay="0"/>
                                          </p:stCondLst>
                                        </p:cTn>
                                        <p:tgtEl>
                                          <p:spTgt spid="8"/>
                                        </p:tgtEl>
                                        <p:attrNameLst>
                                          <p:attrName>style.visibility</p:attrName>
                                        </p:attrNameLst>
                                      </p:cBhvr>
                                      <p:to>
                                        <p:strVal val="visible"/>
                                      </p:to>
                                    </p:set>
                                    <p:anim calcmode="lin" valueType="num">
                                      <p:cBhvr>
                                        <p:cTn id="64" dur="350" fill="hold"/>
                                        <p:tgtEl>
                                          <p:spTgt spid="8"/>
                                        </p:tgtEl>
                                        <p:attrNameLst>
                                          <p:attrName>ppt_w</p:attrName>
                                        </p:attrNameLst>
                                      </p:cBhvr>
                                      <p:tavLst>
                                        <p:tav tm="0">
                                          <p:val>
                                            <p:fltVal val="0"/>
                                          </p:val>
                                        </p:tav>
                                        <p:tav tm="100000">
                                          <p:val>
                                            <p:strVal val="#ppt_w"/>
                                          </p:val>
                                        </p:tav>
                                      </p:tavLst>
                                    </p:anim>
                                    <p:anim calcmode="lin" valueType="num">
                                      <p:cBhvr>
                                        <p:cTn id="65" dur="350" fill="hold"/>
                                        <p:tgtEl>
                                          <p:spTgt spid="8"/>
                                        </p:tgtEl>
                                        <p:attrNameLst>
                                          <p:attrName>ppt_h</p:attrName>
                                        </p:attrNameLst>
                                      </p:cBhvr>
                                      <p:tavLst>
                                        <p:tav tm="0">
                                          <p:val>
                                            <p:fltVal val="0"/>
                                          </p:val>
                                        </p:tav>
                                        <p:tav tm="100000">
                                          <p:val>
                                            <p:strVal val="#ppt_h"/>
                                          </p:val>
                                        </p:tav>
                                      </p:tavLst>
                                    </p:anim>
                                    <p:anim calcmode="lin" valueType="num">
                                      <p:cBhvr>
                                        <p:cTn id="66" dur="350" fill="hold"/>
                                        <p:tgtEl>
                                          <p:spTgt spid="8"/>
                                        </p:tgtEl>
                                        <p:attrNameLst>
                                          <p:attrName>style.rotation</p:attrName>
                                        </p:attrNameLst>
                                      </p:cBhvr>
                                      <p:tavLst>
                                        <p:tav tm="0">
                                          <p:val>
                                            <p:fltVal val="360"/>
                                          </p:val>
                                        </p:tav>
                                        <p:tav tm="100000">
                                          <p:val>
                                            <p:fltVal val="0"/>
                                          </p:val>
                                        </p:tav>
                                      </p:tavLst>
                                    </p:anim>
                                    <p:animEffect>
                                      <p:cBhvr>
                                        <p:cTn id="67" dur="350"/>
                                        <p:tgtEl>
                                          <p:spTgt spid="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6"/>
                                        </p:tgtEl>
                                        <p:attrNameLst>
                                          <p:attrName>style.visibility</p:attrName>
                                        </p:attrNameLst>
                                      </p:cBhvr>
                                      <p:to>
                                        <p:strVal val="visible"/>
                                      </p:to>
                                    </p:set>
                                    <p:animEffect>
                                      <p:cBhvr>
                                        <p:cTn id="70" dur="350"/>
                                        <p:tgtEl>
                                          <p:spTgt spid="16"/>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7"/>
                                        </p:tgtEl>
                                        <p:attrNameLst>
                                          <p:attrName>style.visibility</p:attrName>
                                        </p:attrNameLst>
                                      </p:cBhvr>
                                      <p:to>
                                        <p:strVal val="visible"/>
                                      </p:to>
                                    </p:set>
                                    <p:animEffect>
                                      <p:cBhvr>
                                        <p:cTn id="73" dur="350"/>
                                        <p:tgtEl>
                                          <p:spTgt spid="1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
                                        </p:tgtEl>
                                        <p:attrNameLst>
                                          <p:attrName>style.visibility</p:attrName>
                                        </p:attrNameLst>
                                      </p:cBhvr>
                                      <p:to>
                                        <p:strVal val="visible"/>
                                      </p:to>
                                    </p:set>
                                    <p:animEffect>
                                      <p:cBhvr>
                                        <p:cTn id="76" dur="3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 grpId="0" bldLvl="0" autoUpdateAnimBg="0"/>
      <p:bldP spid="4" grpId="0" animBg="1"/>
      <p:bldP spid="5" grpId="0" bldLvl="0" animBg="1" autoUpdateAnimBg="0"/>
      <p:bldP spid="6" grpId="0" animBg="1"/>
      <p:bldP spid="7" grpId="0" animBg="1"/>
      <p:bldP spid="8" grpId="0" animBg="1"/>
      <p:bldP spid="10" grpId="0" bldLvl="0" animBg="1" autoUpdateAnimBg="0"/>
      <p:bldP spid="11" grpId="0" bldLvl="0" animBg="1" autoUpdateAnimBg="0"/>
      <p:bldP spid="12" grpId="0" bldLvl="0" animBg="1" autoUpdateAnimBg="0"/>
      <p:bldP spid="13" grpId="0" bldLvl="0" animBg="1" autoUpdateAnimBg="0"/>
      <p:bldP spid="15" grpId="0" bldLvl="0" animBg="1" autoUpdateAnimBg="0"/>
      <p:bldP spid="16" grpId="0" bldLvl="0" animBg="1" autoUpdateAnimBg="0"/>
      <p:bldP spid="17" grpId="0" bldLvl="0" animBg="1" autoUpdateAnimBg="0"/>
      <p:bldP spid="18" grpId="0" bldLvl="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039293" y="2978445"/>
            <a:ext cx="5419185" cy="895350"/>
          </a:xfrm>
        </p:spPr>
        <p:txBody>
          <a:bodyPr/>
          <a:lstStyle/>
          <a:p>
            <a:r>
              <a:rPr lang="en-US" altLang="zh-CN" dirty="0">
                <a:latin typeface="+mn-ea"/>
                <a:ea typeface="+mn-ea"/>
              </a:rPr>
              <a:t>“</a:t>
            </a:r>
            <a:r>
              <a:rPr lang="zh-CN" altLang="en-US" dirty="0">
                <a:latin typeface="+mn-ea"/>
                <a:ea typeface="+mn-ea"/>
              </a:rPr>
              <a:t>四位一体”融资平台相关业务</a:t>
            </a:r>
            <a:endParaRPr lang="zh-CN" altLang="en-US" dirty="0">
              <a:latin typeface="+mn-ea"/>
              <a:ea typeface="+mn-ea"/>
            </a:endParaRPr>
          </a:p>
        </p:txBody>
      </p:sp>
      <p:sp>
        <p:nvSpPr>
          <p:cNvPr id="6" name="文本占位符 5"/>
          <p:cNvSpPr>
            <a:spLocks noGrp="1"/>
          </p:cNvSpPr>
          <p:nvPr>
            <p:ph type="body" idx="1"/>
          </p:nvPr>
        </p:nvSpPr>
        <p:spPr>
          <a:xfrm>
            <a:off x="6187440" y="3873500"/>
            <a:ext cx="5271135" cy="2472055"/>
          </a:xfrm>
        </p:spPr>
        <p:txBody>
          <a:bodyPr>
            <a:noAutofit/>
          </a:bodyPr>
          <a:lstStyle/>
          <a:p>
            <a:pPr>
              <a:defRPr/>
            </a:pPr>
            <a:r>
              <a:rPr lang="zh-CN" altLang="en-US" sz="1400" dirty="0">
                <a:latin typeface="+mn-ea"/>
                <a:sym typeface="+mn-ea"/>
              </a:rPr>
              <a:t>担保贷</a:t>
            </a:r>
            <a:r>
              <a:rPr lang="zh-CN" altLang="en-US" sz="1400" dirty="0">
                <a:latin typeface="+mn-ea"/>
              </a:rPr>
              <a:t>      </a:t>
            </a:r>
            <a:endParaRPr lang="en-US" altLang="zh-CN" sz="1400" dirty="0">
              <a:latin typeface="+mn-ea"/>
            </a:endParaRPr>
          </a:p>
          <a:p>
            <a:pPr>
              <a:defRPr/>
            </a:pPr>
            <a:r>
              <a:rPr lang="zh-CN" altLang="en-US" sz="1400" dirty="0">
                <a:latin typeface="+mn-ea"/>
              </a:rPr>
              <a:t>支小贷</a:t>
            </a:r>
            <a:endParaRPr lang="zh-CN" altLang="en-US" sz="1400" dirty="0">
              <a:latin typeface="+mn-ea"/>
            </a:endParaRPr>
          </a:p>
          <a:p>
            <a:pPr>
              <a:defRPr/>
            </a:pPr>
            <a:r>
              <a:rPr lang="zh-CN" altLang="en-US" sz="1400" dirty="0">
                <a:latin typeface="+mn-ea"/>
                <a:sym typeface="+mn-ea"/>
              </a:rPr>
              <a:t>技改贷 </a:t>
            </a:r>
            <a:endParaRPr lang="zh-CN" altLang="en-US" sz="1400" dirty="0">
              <a:latin typeface="+mn-ea"/>
              <a:sym typeface="+mn-ea"/>
            </a:endParaRPr>
          </a:p>
          <a:p>
            <a:pPr>
              <a:defRPr/>
            </a:pPr>
            <a:r>
              <a:rPr lang="zh-CN" altLang="en-US" sz="1400" dirty="0">
                <a:latin typeface="+mn-ea"/>
              </a:rPr>
              <a:t>产业发展贷</a:t>
            </a:r>
            <a:endParaRPr lang="zh-CN" altLang="en-US" sz="1400" dirty="0">
              <a:latin typeface="+mn-ea"/>
            </a:endParaRPr>
          </a:p>
          <a:p>
            <a:pPr>
              <a:defRPr/>
            </a:pPr>
            <a:r>
              <a:rPr lang="zh-CN" altLang="en-US" sz="1400" dirty="0">
                <a:latin typeface="+mn-ea"/>
                <a:sym typeface="+mn-ea"/>
              </a:rPr>
              <a:t>信用</a:t>
            </a:r>
            <a:r>
              <a:rPr lang="zh-CN" altLang="en-US" sz="1400" dirty="0">
                <a:latin typeface="+mn-ea"/>
                <a:sym typeface="+mn-ea"/>
              </a:rPr>
              <a:t>贷</a:t>
            </a:r>
            <a:endParaRPr lang="zh-CN" altLang="en-US" sz="1400" dirty="0">
              <a:latin typeface="+mn-ea"/>
              <a:sym typeface="+mn-ea"/>
            </a:endParaRPr>
          </a:p>
          <a:p>
            <a:pPr>
              <a:defRPr/>
            </a:pPr>
            <a:r>
              <a:rPr lang="zh-CN" altLang="en-US" sz="1400" dirty="0">
                <a:latin typeface="+mn-ea"/>
                <a:sym typeface="+mn-ea"/>
              </a:rPr>
              <a:t>转贷过桥</a:t>
            </a:r>
            <a:endParaRPr lang="zh-CN" altLang="en-US" sz="1400" dirty="0">
              <a:latin typeface="+mn-ea"/>
              <a:sym typeface="+mn-ea"/>
            </a:endParaRPr>
          </a:p>
          <a:p>
            <a:pPr>
              <a:defRPr/>
            </a:pPr>
            <a:r>
              <a:rPr lang="zh-CN" altLang="en-US" sz="1400" dirty="0">
                <a:latin typeface="+mn-ea"/>
                <a:sym typeface="+mn-ea"/>
              </a:rPr>
              <a:t>防疫贷</a:t>
            </a:r>
            <a:endParaRPr lang="zh-CN" altLang="en-US" sz="1400" dirty="0">
              <a:latin typeface="+mn-ea"/>
            </a:endParaRPr>
          </a:p>
          <a:p>
            <a:pPr>
              <a:defRPr/>
            </a:pPr>
            <a:endParaRPr lang="zh-CN" altLang="en-US" sz="1400" dirty="0">
              <a:latin typeface="+mn-ea"/>
            </a:endParaRPr>
          </a:p>
          <a:p>
            <a:pPr>
              <a:defRPr/>
            </a:pPr>
            <a:endParaRPr lang="zh-CN" altLang="en-US" sz="1400" dirty="0">
              <a:latin typeface="+mn-ea"/>
            </a:endParaRPr>
          </a:p>
        </p:txBody>
      </p:sp>
      <p:sp>
        <p:nvSpPr>
          <p:cNvPr id="9" name="文本框 8"/>
          <p:cNvSpPr txBox="1"/>
          <p:nvPr/>
        </p:nvSpPr>
        <p:spPr>
          <a:xfrm>
            <a:off x="4677066" y="349457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24119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0" y="-558367"/>
            <a:ext cx="12192000" cy="6220460"/>
            <a:chOff x="0" y="-32304"/>
            <a:chExt cx="12192000" cy="6204935"/>
          </a:xfrm>
        </p:grpSpPr>
        <p:sp>
          <p:nvSpPr>
            <p:cNvPr id="6" name="ïšḷîḑè"/>
            <p:cNvSpPr/>
            <p:nvPr/>
          </p:nvSpPr>
          <p:spPr>
            <a:xfrm rot="5400000" flipV="1">
              <a:off x="3883742" y="-3916046"/>
              <a:ext cx="4424516" cy="12192000"/>
            </a:xfrm>
            <a:prstGeom prst="homePlate">
              <a:avLst>
                <a:gd name="adj" fmla="val 36222"/>
              </a:avLst>
            </a:prstGeom>
            <a:solidFill>
              <a:schemeClr val="bg1">
                <a:lumMod val="95000"/>
              </a:schemeClr>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i="1">
                <a:solidFill>
                  <a:schemeClr val="tx1"/>
                </a:solidFill>
              </a:endParaRPr>
            </a:p>
          </p:txBody>
        </p:sp>
        <p:sp>
          <p:nvSpPr>
            <p:cNvPr id="8" name="îSľïḍè"/>
            <p:cNvSpPr txBox="1"/>
            <p:nvPr/>
          </p:nvSpPr>
          <p:spPr>
            <a:xfrm>
              <a:off x="1206975" y="1506077"/>
              <a:ext cx="10845800" cy="713994"/>
            </a:xfrm>
            <a:prstGeom prst="rect">
              <a:avLst/>
            </a:prstGeom>
            <a:noFill/>
            <a:ln>
              <a:noFill/>
            </a:ln>
          </p:spPr>
          <p:txBody>
            <a:bodyPr wrap="square" lIns="91440" tIns="45720" rIns="91440" bIns="45720" anchor="ctr" anchorCtr="0">
              <a:normAutofit/>
            </a:bodyPr>
            <a:lstStyle/>
            <a:p>
              <a:pPr algn="ctr"/>
              <a:endParaRPr lang="zh-CN" altLang="zh-CN" sz="2000" b="1" dirty="0">
                <a:solidFill>
                  <a:srgbClr val="C00000"/>
                </a:solidFill>
              </a:endParaRPr>
            </a:p>
          </p:txBody>
        </p:sp>
        <p:grpSp>
          <p:nvGrpSpPr>
            <p:cNvPr id="9" name="íşļiḓè"/>
            <p:cNvGrpSpPr/>
            <p:nvPr/>
          </p:nvGrpSpPr>
          <p:grpSpPr>
            <a:xfrm>
              <a:off x="5649849" y="1856232"/>
              <a:ext cx="0" cy="0"/>
              <a:chOff x="5649849" y="1856232"/>
              <a:chExt cx="892302" cy="0"/>
            </a:xfrm>
          </p:grpSpPr>
          <p:cxnSp>
            <p:nvCxnSpPr>
              <p:cNvPr id="31" name="直接连接符 30"/>
              <p:cNvCxnSpPr/>
              <p:nvPr/>
            </p:nvCxnSpPr>
            <p:spPr>
              <a:xfrm>
                <a:off x="5927725" y="1856232"/>
                <a:ext cx="336550" cy="0"/>
              </a:xfrm>
              <a:prstGeom prst="line">
                <a:avLst/>
              </a:prstGeom>
              <a:ln w="635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2" name="iŝļíḓè"/>
              <p:cNvGrpSpPr/>
              <p:nvPr/>
            </p:nvGrpSpPr>
            <p:grpSpPr>
              <a:xfrm>
                <a:off x="6408801" y="1856232"/>
                <a:ext cx="133350" cy="0"/>
                <a:chOff x="6264275" y="1856232"/>
                <a:chExt cx="133350" cy="0"/>
              </a:xfrm>
            </p:grpSpPr>
            <p:cxnSp>
              <p:nvCxnSpPr>
                <p:cNvPr id="36" name="直接连接符 35"/>
                <p:cNvCxnSpPr/>
                <p:nvPr/>
              </p:nvCxnSpPr>
              <p:spPr>
                <a:xfrm>
                  <a:off x="6264275" y="1856232"/>
                  <a:ext cx="0" cy="0"/>
                </a:xfrm>
                <a:prstGeom prst="line">
                  <a:avLst/>
                </a:prstGeom>
                <a:ln w="635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6397625" y="1856232"/>
                  <a:ext cx="0" cy="0"/>
                </a:xfrm>
                <a:prstGeom prst="line">
                  <a:avLst/>
                </a:prstGeom>
                <a:ln w="635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3" name="íSlîḋe"/>
              <p:cNvGrpSpPr/>
              <p:nvPr/>
            </p:nvGrpSpPr>
            <p:grpSpPr>
              <a:xfrm>
                <a:off x="5649849" y="1856232"/>
                <a:ext cx="0" cy="0"/>
                <a:chOff x="0" y="0"/>
                <a:chExt cx="6397625" cy="1856232"/>
              </a:xfrm>
            </p:grpSpPr>
            <p:cxnSp>
              <p:nvCxnSpPr>
                <p:cNvPr id="34" name="直接连接符 33"/>
                <p:cNvCxnSpPr/>
                <p:nvPr/>
              </p:nvCxnSpPr>
              <p:spPr>
                <a:xfrm>
                  <a:off x="0" y="0"/>
                  <a:ext cx="0" cy="0"/>
                </a:xfrm>
                <a:prstGeom prst="line">
                  <a:avLst/>
                </a:prstGeom>
                <a:ln w="635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6397625" y="1856232"/>
                  <a:ext cx="0" cy="0"/>
                </a:xfrm>
                <a:prstGeom prst="line">
                  <a:avLst/>
                </a:prstGeom>
                <a:ln w="635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0" name="ïṥ1îdê"/>
            <p:cNvGrpSpPr/>
            <p:nvPr/>
          </p:nvGrpSpPr>
          <p:grpSpPr>
            <a:xfrm>
              <a:off x="643254" y="2196250"/>
              <a:ext cx="4411980" cy="3766919"/>
              <a:chOff x="596738" y="2196250"/>
              <a:chExt cx="4411980" cy="3766919"/>
            </a:xfrm>
          </p:grpSpPr>
          <p:grpSp>
            <p:nvGrpSpPr>
              <p:cNvPr id="21" name="îŝḻiďé"/>
              <p:cNvGrpSpPr/>
              <p:nvPr/>
            </p:nvGrpSpPr>
            <p:grpSpPr>
              <a:xfrm>
                <a:off x="596738" y="2196250"/>
                <a:ext cx="719376" cy="719376"/>
                <a:chOff x="6330308" y="3741850"/>
                <a:chExt cx="626342" cy="626342"/>
              </a:xfrm>
            </p:grpSpPr>
            <p:sp>
              <p:nvSpPr>
                <p:cNvPr id="29" name="íş1ïḍê"/>
                <p:cNvSpPr/>
                <p:nvPr/>
              </p:nvSpPr>
              <p:spPr>
                <a:xfrm>
                  <a:off x="6330308" y="3741850"/>
                  <a:ext cx="626342" cy="626342"/>
                </a:xfrm>
                <a:prstGeom prst="ellipse">
                  <a:avLst/>
                </a:prstGeom>
                <a:solidFill>
                  <a:schemeClr val="accent1"/>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p>
              </p:txBody>
            </p:sp>
            <p:sp>
              <p:nvSpPr>
                <p:cNvPr id="30" name="ïṣḷîḑè"/>
                <p:cNvSpPr/>
                <p:nvPr/>
              </p:nvSpPr>
              <p:spPr>
                <a:xfrm>
                  <a:off x="6510024" y="3927338"/>
                  <a:ext cx="311141" cy="255359"/>
                </a:xfrm>
                <a:custGeom>
                  <a:avLst/>
                  <a:gdLst>
                    <a:gd name="T0" fmla="*/ 318 w 753"/>
                    <a:gd name="T1" fmla="*/ 47 h 619"/>
                    <a:gd name="T2" fmla="*/ 369 w 753"/>
                    <a:gd name="T3" fmla="*/ 69 h 619"/>
                    <a:gd name="T4" fmla="*/ 458 w 753"/>
                    <a:gd name="T5" fmla="*/ 8 h 619"/>
                    <a:gd name="T6" fmla="*/ 383 w 753"/>
                    <a:gd name="T7" fmla="*/ 112 h 619"/>
                    <a:gd name="T8" fmla="*/ 355 w 753"/>
                    <a:gd name="T9" fmla="*/ 112 h 619"/>
                    <a:gd name="T10" fmla="*/ 650 w 753"/>
                    <a:gd name="T11" fmla="*/ 296 h 619"/>
                    <a:gd name="T12" fmla="*/ 690 w 753"/>
                    <a:gd name="T13" fmla="*/ 579 h 619"/>
                    <a:gd name="T14" fmla="*/ 690 w 753"/>
                    <a:gd name="T15" fmla="*/ 619 h 619"/>
                    <a:gd name="T16" fmla="*/ 43 w 753"/>
                    <a:gd name="T17" fmla="*/ 599 h 619"/>
                    <a:gd name="T18" fmla="*/ 103 w 753"/>
                    <a:gd name="T19" fmla="*/ 579 h 619"/>
                    <a:gd name="T20" fmla="*/ 0 w 753"/>
                    <a:gd name="T21" fmla="*/ 173 h 619"/>
                    <a:gd name="T22" fmla="*/ 115 w 753"/>
                    <a:gd name="T23" fmla="*/ 68 h 619"/>
                    <a:gd name="T24" fmla="*/ 267 w 753"/>
                    <a:gd name="T25" fmla="*/ 64 h 619"/>
                    <a:gd name="T26" fmla="*/ 377 w 753"/>
                    <a:gd name="T27" fmla="*/ 138 h 619"/>
                    <a:gd name="T28" fmla="*/ 486 w 753"/>
                    <a:gd name="T29" fmla="*/ 64 h 619"/>
                    <a:gd name="T30" fmla="*/ 638 w 753"/>
                    <a:gd name="T31" fmla="*/ 68 h 619"/>
                    <a:gd name="T32" fmla="*/ 753 w 753"/>
                    <a:gd name="T33" fmla="*/ 173 h 619"/>
                    <a:gd name="T34" fmla="*/ 610 w 753"/>
                    <a:gd name="T35" fmla="*/ 579 h 619"/>
                    <a:gd name="T36" fmla="*/ 544 w 753"/>
                    <a:gd name="T37" fmla="*/ 266 h 619"/>
                    <a:gd name="T38" fmla="*/ 377 w 753"/>
                    <a:gd name="T39" fmla="*/ 266 h 619"/>
                    <a:gd name="T40" fmla="*/ 209 w 753"/>
                    <a:gd name="T41" fmla="*/ 266 h 619"/>
                    <a:gd name="T42" fmla="*/ 143 w 753"/>
                    <a:gd name="T43" fmla="*/ 579 h 619"/>
                    <a:gd name="T44" fmla="*/ 412 w 753"/>
                    <a:gd name="T45" fmla="*/ 352 h 619"/>
                    <a:gd name="T46" fmla="*/ 567 w 753"/>
                    <a:gd name="T47" fmla="*/ 332 h 619"/>
                    <a:gd name="T48" fmla="*/ 587 w 753"/>
                    <a:gd name="T49" fmla="*/ 579 h 619"/>
                    <a:gd name="T50" fmla="*/ 389 w 753"/>
                    <a:gd name="T51" fmla="*/ 352 h 619"/>
                    <a:gd name="T52" fmla="*/ 369 w 753"/>
                    <a:gd name="T53" fmla="*/ 535 h 619"/>
                    <a:gd name="T54" fmla="*/ 166 w 753"/>
                    <a:gd name="T55" fmla="*/ 515 h 619"/>
                    <a:gd name="T56" fmla="*/ 186 w 753"/>
                    <a:gd name="T57" fmla="*/ 332 h 619"/>
                    <a:gd name="T58" fmla="*/ 389 w 753"/>
                    <a:gd name="T59" fmla="*/ 352 h 619"/>
                    <a:gd name="T60" fmla="*/ 206 w 753"/>
                    <a:gd name="T61" fmla="*/ 372 h 619"/>
                    <a:gd name="T62" fmla="*/ 349 w 753"/>
                    <a:gd name="T63" fmla="*/ 495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3" h="619">
                      <a:moveTo>
                        <a:pt x="318" y="75"/>
                      </a:moveTo>
                      <a:cubicBezTo>
                        <a:pt x="311" y="67"/>
                        <a:pt x="311" y="55"/>
                        <a:pt x="318" y="47"/>
                      </a:cubicBezTo>
                      <a:cubicBezTo>
                        <a:pt x="326" y="39"/>
                        <a:pt x="339" y="39"/>
                        <a:pt x="347" y="47"/>
                      </a:cubicBezTo>
                      <a:lnTo>
                        <a:pt x="369" y="69"/>
                      </a:lnTo>
                      <a:lnTo>
                        <a:pt x="430" y="8"/>
                      </a:lnTo>
                      <a:cubicBezTo>
                        <a:pt x="438" y="0"/>
                        <a:pt x="451" y="0"/>
                        <a:pt x="458" y="8"/>
                      </a:cubicBezTo>
                      <a:cubicBezTo>
                        <a:pt x="466" y="16"/>
                        <a:pt x="466" y="28"/>
                        <a:pt x="458" y="36"/>
                      </a:cubicBezTo>
                      <a:lnTo>
                        <a:pt x="383" y="112"/>
                      </a:lnTo>
                      <a:cubicBezTo>
                        <a:pt x="379" y="115"/>
                        <a:pt x="374" y="117"/>
                        <a:pt x="369" y="117"/>
                      </a:cubicBezTo>
                      <a:cubicBezTo>
                        <a:pt x="364" y="117"/>
                        <a:pt x="359" y="115"/>
                        <a:pt x="355" y="112"/>
                      </a:cubicBezTo>
                      <a:lnTo>
                        <a:pt x="318" y="75"/>
                      </a:lnTo>
                      <a:close/>
                      <a:moveTo>
                        <a:pt x="650" y="296"/>
                      </a:moveTo>
                      <a:lnTo>
                        <a:pt x="650" y="579"/>
                      </a:lnTo>
                      <a:lnTo>
                        <a:pt x="690" y="579"/>
                      </a:lnTo>
                      <a:cubicBezTo>
                        <a:pt x="701" y="579"/>
                        <a:pt x="710" y="588"/>
                        <a:pt x="710" y="599"/>
                      </a:cubicBezTo>
                      <a:cubicBezTo>
                        <a:pt x="710" y="610"/>
                        <a:pt x="701" y="619"/>
                        <a:pt x="690" y="619"/>
                      </a:cubicBezTo>
                      <a:lnTo>
                        <a:pt x="63" y="619"/>
                      </a:lnTo>
                      <a:cubicBezTo>
                        <a:pt x="52" y="619"/>
                        <a:pt x="43" y="610"/>
                        <a:pt x="43" y="599"/>
                      </a:cubicBezTo>
                      <a:cubicBezTo>
                        <a:pt x="43" y="588"/>
                        <a:pt x="52" y="579"/>
                        <a:pt x="63" y="579"/>
                      </a:cubicBezTo>
                      <a:lnTo>
                        <a:pt x="103" y="579"/>
                      </a:lnTo>
                      <a:lnTo>
                        <a:pt x="103" y="296"/>
                      </a:lnTo>
                      <a:cubicBezTo>
                        <a:pt x="45" y="286"/>
                        <a:pt x="0" y="234"/>
                        <a:pt x="0" y="173"/>
                      </a:cubicBezTo>
                      <a:cubicBezTo>
                        <a:pt x="0" y="167"/>
                        <a:pt x="3" y="161"/>
                        <a:pt x="7" y="157"/>
                      </a:cubicBezTo>
                      <a:lnTo>
                        <a:pt x="115" y="68"/>
                      </a:lnTo>
                      <a:cubicBezTo>
                        <a:pt x="119" y="65"/>
                        <a:pt x="123" y="64"/>
                        <a:pt x="128" y="64"/>
                      </a:cubicBezTo>
                      <a:lnTo>
                        <a:pt x="267" y="64"/>
                      </a:lnTo>
                      <a:cubicBezTo>
                        <a:pt x="275" y="64"/>
                        <a:pt x="283" y="69"/>
                        <a:pt x="286" y="76"/>
                      </a:cubicBezTo>
                      <a:cubicBezTo>
                        <a:pt x="301" y="114"/>
                        <a:pt x="336" y="138"/>
                        <a:pt x="377" y="138"/>
                      </a:cubicBezTo>
                      <a:cubicBezTo>
                        <a:pt x="417" y="138"/>
                        <a:pt x="453" y="114"/>
                        <a:pt x="468" y="76"/>
                      </a:cubicBezTo>
                      <a:cubicBezTo>
                        <a:pt x="471" y="69"/>
                        <a:pt x="478" y="64"/>
                        <a:pt x="486" y="64"/>
                      </a:cubicBezTo>
                      <a:lnTo>
                        <a:pt x="626" y="64"/>
                      </a:lnTo>
                      <a:cubicBezTo>
                        <a:pt x="630" y="64"/>
                        <a:pt x="635" y="65"/>
                        <a:pt x="638" y="68"/>
                      </a:cubicBezTo>
                      <a:lnTo>
                        <a:pt x="746" y="157"/>
                      </a:lnTo>
                      <a:cubicBezTo>
                        <a:pt x="751" y="161"/>
                        <a:pt x="753" y="167"/>
                        <a:pt x="753" y="173"/>
                      </a:cubicBezTo>
                      <a:cubicBezTo>
                        <a:pt x="753" y="234"/>
                        <a:pt x="709" y="286"/>
                        <a:pt x="650" y="296"/>
                      </a:cubicBezTo>
                      <a:close/>
                      <a:moveTo>
                        <a:pt x="610" y="579"/>
                      </a:moveTo>
                      <a:lnTo>
                        <a:pt x="610" y="297"/>
                      </a:lnTo>
                      <a:cubicBezTo>
                        <a:pt x="585" y="293"/>
                        <a:pt x="563" y="283"/>
                        <a:pt x="544" y="266"/>
                      </a:cubicBezTo>
                      <a:cubicBezTo>
                        <a:pt x="521" y="287"/>
                        <a:pt x="492" y="298"/>
                        <a:pt x="460" y="298"/>
                      </a:cubicBezTo>
                      <a:cubicBezTo>
                        <a:pt x="429" y="298"/>
                        <a:pt x="400" y="287"/>
                        <a:pt x="377" y="266"/>
                      </a:cubicBezTo>
                      <a:cubicBezTo>
                        <a:pt x="354" y="287"/>
                        <a:pt x="324" y="298"/>
                        <a:pt x="293" y="298"/>
                      </a:cubicBezTo>
                      <a:cubicBezTo>
                        <a:pt x="262" y="298"/>
                        <a:pt x="232" y="287"/>
                        <a:pt x="209" y="266"/>
                      </a:cubicBezTo>
                      <a:cubicBezTo>
                        <a:pt x="191" y="283"/>
                        <a:pt x="168" y="293"/>
                        <a:pt x="143" y="297"/>
                      </a:cubicBezTo>
                      <a:lnTo>
                        <a:pt x="143" y="579"/>
                      </a:lnTo>
                      <a:lnTo>
                        <a:pt x="412" y="579"/>
                      </a:lnTo>
                      <a:lnTo>
                        <a:pt x="412" y="352"/>
                      </a:lnTo>
                      <a:cubicBezTo>
                        <a:pt x="412" y="341"/>
                        <a:pt x="421" y="332"/>
                        <a:pt x="432" y="332"/>
                      </a:cubicBezTo>
                      <a:lnTo>
                        <a:pt x="567" y="332"/>
                      </a:lnTo>
                      <a:cubicBezTo>
                        <a:pt x="578" y="332"/>
                        <a:pt x="587" y="341"/>
                        <a:pt x="587" y="352"/>
                      </a:cubicBezTo>
                      <a:lnTo>
                        <a:pt x="587" y="579"/>
                      </a:lnTo>
                      <a:lnTo>
                        <a:pt x="610" y="579"/>
                      </a:lnTo>
                      <a:close/>
                      <a:moveTo>
                        <a:pt x="389" y="352"/>
                      </a:moveTo>
                      <a:lnTo>
                        <a:pt x="389" y="515"/>
                      </a:lnTo>
                      <a:cubicBezTo>
                        <a:pt x="389" y="527"/>
                        <a:pt x="380" y="535"/>
                        <a:pt x="369" y="535"/>
                      </a:cubicBezTo>
                      <a:lnTo>
                        <a:pt x="186" y="535"/>
                      </a:lnTo>
                      <a:cubicBezTo>
                        <a:pt x="175" y="535"/>
                        <a:pt x="166" y="527"/>
                        <a:pt x="166" y="515"/>
                      </a:cubicBezTo>
                      <a:lnTo>
                        <a:pt x="166" y="352"/>
                      </a:lnTo>
                      <a:cubicBezTo>
                        <a:pt x="166" y="341"/>
                        <a:pt x="175" y="332"/>
                        <a:pt x="186" y="332"/>
                      </a:cubicBezTo>
                      <a:lnTo>
                        <a:pt x="369" y="332"/>
                      </a:lnTo>
                      <a:cubicBezTo>
                        <a:pt x="380" y="332"/>
                        <a:pt x="389" y="341"/>
                        <a:pt x="389" y="352"/>
                      </a:cubicBezTo>
                      <a:close/>
                      <a:moveTo>
                        <a:pt x="349" y="372"/>
                      </a:moveTo>
                      <a:lnTo>
                        <a:pt x="206" y="372"/>
                      </a:lnTo>
                      <a:lnTo>
                        <a:pt x="206" y="495"/>
                      </a:lnTo>
                      <a:lnTo>
                        <a:pt x="349" y="495"/>
                      </a:lnTo>
                      <a:lnTo>
                        <a:pt x="349" y="372"/>
                      </a:lnTo>
                      <a:close/>
                    </a:path>
                  </a:pathLst>
                </a:custGeom>
                <a:solidFill>
                  <a:schemeClr val="bg1"/>
                </a:solidFill>
                <a:ln>
                  <a:noFill/>
                </a:ln>
                <a:effec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p>
              </p:txBody>
            </p:sp>
          </p:grpSp>
          <p:sp>
            <p:nvSpPr>
              <p:cNvPr id="23" name="îşlïḍe"/>
              <p:cNvSpPr/>
              <p:nvPr/>
            </p:nvSpPr>
            <p:spPr>
              <a:xfrm>
                <a:off x="1346038" y="2196250"/>
                <a:ext cx="3651250" cy="1016631"/>
              </a:xfrm>
              <a:prstGeom prst="rect">
                <a:avLst/>
              </a:prstGeom>
            </p:spPr>
            <p:txBody>
              <a:bodyPr wrap="square" lIns="91440" tIns="45720" rIns="91440" bIns="45720" anchor="ctr">
                <a:noAutofit/>
              </a:bodyPr>
              <a:lstStyle/>
              <a:p>
                <a:r>
                  <a:rPr lang="zh-CN" altLang="en-US" sz="2000" dirty="0"/>
                  <a:t>目的：强化金融服务实体经济功能，深化民营和小微企业金融服务，营造良好融资环境，缓解我市民营及中小微企业融资难、融资贵问题，结合珠海市中小微企业“四位一体”融资模式。</a:t>
                </a:r>
                <a:endParaRPr lang="zh-CN" altLang="en-US" sz="2000" dirty="0"/>
              </a:p>
            </p:txBody>
          </p:sp>
          <p:grpSp>
            <p:nvGrpSpPr>
              <p:cNvPr id="24" name="is1iďè"/>
              <p:cNvGrpSpPr/>
              <p:nvPr/>
            </p:nvGrpSpPr>
            <p:grpSpPr>
              <a:xfrm>
                <a:off x="626583" y="4906712"/>
                <a:ext cx="719376" cy="719378"/>
                <a:chOff x="6356293" y="5021567"/>
                <a:chExt cx="626342" cy="626342"/>
              </a:xfrm>
            </p:grpSpPr>
            <p:sp>
              <p:nvSpPr>
                <p:cNvPr id="27" name="iṡḷiďè"/>
                <p:cNvSpPr/>
                <p:nvPr/>
              </p:nvSpPr>
              <p:spPr>
                <a:xfrm>
                  <a:off x="6356293" y="5021567"/>
                  <a:ext cx="626342" cy="626342"/>
                </a:xfrm>
                <a:prstGeom prst="ellipse">
                  <a:avLst/>
                </a:prstGeom>
                <a:solidFill>
                  <a:schemeClr val="accent1"/>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p>
              </p:txBody>
            </p:sp>
            <p:sp>
              <p:nvSpPr>
                <p:cNvPr id="28" name="îşļíḓè"/>
                <p:cNvSpPr/>
                <p:nvPr/>
              </p:nvSpPr>
              <p:spPr>
                <a:xfrm>
                  <a:off x="6509879" y="5238186"/>
                  <a:ext cx="311141" cy="243687"/>
                </a:xfrm>
                <a:custGeom>
                  <a:avLst/>
                  <a:gdLst>
                    <a:gd name="T0" fmla="*/ 140 w 667"/>
                    <a:gd name="T1" fmla="*/ 182 h 523"/>
                    <a:gd name="T2" fmla="*/ 160 w 667"/>
                    <a:gd name="T3" fmla="*/ 162 h 523"/>
                    <a:gd name="T4" fmla="*/ 507 w 667"/>
                    <a:gd name="T5" fmla="*/ 162 h 523"/>
                    <a:gd name="T6" fmla="*/ 527 w 667"/>
                    <a:gd name="T7" fmla="*/ 182 h 523"/>
                    <a:gd name="T8" fmla="*/ 507 w 667"/>
                    <a:gd name="T9" fmla="*/ 202 h 523"/>
                    <a:gd name="T10" fmla="*/ 160 w 667"/>
                    <a:gd name="T11" fmla="*/ 202 h 523"/>
                    <a:gd name="T12" fmla="*/ 140 w 667"/>
                    <a:gd name="T13" fmla="*/ 182 h 523"/>
                    <a:gd name="T14" fmla="*/ 160 w 667"/>
                    <a:gd name="T15" fmla="*/ 426 h 523"/>
                    <a:gd name="T16" fmla="*/ 507 w 667"/>
                    <a:gd name="T17" fmla="*/ 426 h 523"/>
                    <a:gd name="T18" fmla="*/ 527 w 667"/>
                    <a:gd name="T19" fmla="*/ 406 h 523"/>
                    <a:gd name="T20" fmla="*/ 507 w 667"/>
                    <a:gd name="T21" fmla="*/ 386 h 523"/>
                    <a:gd name="T22" fmla="*/ 160 w 667"/>
                    <a:gd name="T23" fmla="*/ 386 h 523"/>
                    <a:gd name="T24" fmla="*/ 140 w 667"/>
                    <a:gd name="T25" fmla="*/ 406 h 523"/>
                    <a:gd name="T26" fmla="*/ 160 w 667"/>
                    <a:gd name="T27" fmla="*/ 426 h 523"/>
                    <a:gd name="T28" fmla="*/ 160 w 667"/>
                    <a:gd name="T29" fmla="*/ 276 h 523"/>
                    <a:gd name="T30" fmla="*/ 507 w 667"/>
                    <a:gd name="T31" fmla="*/ 276 h 523"/>
                    <a:gd name="T32" fmla="*/ 527 w 667"/>
                    <a:gd name="T33" fmla="*/ 256 h 523"/>
                    <a:gd name="T34" fmla="*/ 507 w 667"/>
                    <a:gd name="T35" fmla="*/ 236 h 523"/>
                    <a:gd name="T36" fmla="*/ 160 w 667"/>
                    <a:gd name="T37" fmla="*/ 236 h 523"/>
                    <a:gd name="T38" fmla="*/ 140 w 667"/>
                    <a:gd name="T39" fmla="*/ 256 h 523"/>
                    <a:gd name="T40" fmla="*/ 160 w 667"/>
                    <a:gd name="T41" fmla="*/ 276 h 523"/>
                    <a:gd name="T42" fmla="*/ 160 w 667"/>
                    <a:gd name="T43" fmla="*/ 352 h 523"/>
                    <a:gd name="T44" fmla="*/ 507 w 667"/>
                    <a:gd name="T45" fmla="*/ 352 h 523"/>
                    <a:gd name="T46" fmla="*/ 527 w 667"/>
                    <a:gd name="T47" fmla="*/ 332 h 523"/>
                    <a:gd name="T48" fmla="*/ 507 w 667"/>
                    <a:gd name="T49" fmla="*/ 312 h 523"/>
                    <a:gd name="T50" fmla="*/ 160 w 667"/>
                    <a:gd name="T51" fmla="*/ 312 h 523"/>
                    <a:gd name="T52" fmla="*/ 140 w 667"/>
                    <a:gd name="T53" fmla="*/ 332 h 523"/>
                    <a:gd name="T54" fmla="*/ 160 w 667"/>
                    <a:gd name="T55" fmla="*/ 352 h 523"/>
                    <a:gd name="T56" fmla="*/ 607 w 667"/>
                    <a:gd name="T57" fmla="*/ 105 h 523"/>
                    <a:gd name="T58" fmla="*/ 607 w 667"/>
                    <a:gd name="T59" fmla="*/ 483 h 523"/>
                    <a:gd name="T60" fmla="*/ 647 w 667"/>
                    <a:gd name="T61" fmla="*/ 483 h 523"/>
                    <a:gd name="T62" fmla="*/ 667 w 667"/>
                    <a:gd name="T63" fmla="*/ 503 h 523"/>
                    <a:gd name="T64" fmla="*/ 647 w 667"/>
                    <a:gd name="T65" fmla="*/ 523 h 523"/>
                    <a:gd name="T66" fmla="*/ 20 w 667"/>
                    <a:gd name="T67" fmla="*/ 523 h 523"/>
                    <a:gd name="T68" fmla="*/ 0 w 667"/>
                    <a:gd name="T69" fmla="*/ 503 h 523"/>
                    <a:gd name="T70" fmla="*/ 20 w 667"/>
                    <a:gd name="T71" fmla="*/ 483 h 523"/>
                    <a:gd name="T72" fmla="*/ 60 w 667"/>
                    <a:gd name="T73" fmla="*/ 483 h 523"/>
                    <a:gd name="T74" fmla="*/ 60 w 667"/>
                    <a:gd name="T75" fmla="*/ 105 h 523"/>
                    <a:gd name="T76" fmla="*/ 20 w 667"/>
                    <a:gd name="T77" fmla="*/ 105 h 523"/>
                    <a:gd name="T78" fmla="*/ 0 w 667"/>
                    <a:gd name="T79" fmla="*/ 85 h 523"/>
                    <a:gd name="T80" fmla="*/ 0 w 667"/>
                    <a:gd name="T81" fmla="*/ 20 h 523"/>
                    <a:gd name="T82" fmla="*/ 20 w 667"/>
                    <a:gd name="T83" fmla="*/ 0 h 523"/>
                    <a:gd name="T84" fmla="*/ 647 w 667"/>
                    <a:gd name="T85" fmla="*/ 0 h 523"/>
                    <a:gd name="T86" fmla="*/ 667 w 667"/>
                    <a:gd name="T87" fmla="*/ 20 h 523"/>
                    <a:gd name="T88" fmla="*/ 667 w 667"/>
                    <a:gd name="T89" fmla="*/ 85 h 523"/>
                    <a:gd name="T90" fmla="*/ 647 w 667"/>
                    <a:gd name="T91" fmla="*/ 105 h 523"/>
                    <a:gd name="T92" fmla="*/ 607 w 667"/>
                    <a:gd name="T93" fmla="*/ 105 h 523"/>
                    <a:gd name="T94" fmla="*/ 567 w 667"/>
                    <a:gd name="T95" fmla="*/ 105 h 523"/>
                    <a:gd name="T96" fmla="*/ 100 w 667"/>
                    <a:gd name="T97" fmla="*/ 105 h 523"/>
                    <a:gd name="T98" fmla="*/ 100 w 667"/>
                    <a:gd name="T99" fmla="*/ 483 h 523"/>
                    <a:gd name="T100" fmla="*/ 567 w 667"/>
                    <a:gd name="T101" fmla="*/ 483 h 523"/>
                    <a:gd name="T102" fmla="*/ 567 w 667"/>
                    <a:gd name="T103" fmla="*/ 10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67" h="523">
                      <a:moveTo>
                        <a:pt x="140" y="182"/>
                      </a:moveTo>
                      <a:cubicBezTo>
                        <a:pt x="140" y="171"/>
                        <a:pt x="149" y="162"/>
                        <a:pt x="160" y="162"/>
                      </a:cubicBezTo>
                      <a:lnTo>
                        <a:pt x="507" y="162"/>
                      </a:lnTo>
                      <a:cubicBezTo>
                        <a:pt x="518" y="162"/>
                        <a:pt x="527" y="171"/>
                        <a:pt x="527" y="182"/>
                      </a:cubicBezTo>
                      <a:cubicBezTo>
                        <a:pt x="527" y="193"/>
                        <a:pt x="518" y="202"/>
                        <a:pt x="507" y="202"/>
                      </a:cubicBezTo>
                      <a:lnTo>
                        <a:pt x="160" y="202"/>
                      </a:lnTo>
                      <a:cubicBezTo>
                        <a:pt x="149" y="202"/>
                        <a:pt x="140" y="193"/>
                        <a:pt x="140" y="182"/>
                      </a:cubicBezTo>
                      <a:close/>
                      <a:moveTo>
                        <a:pt x="160" y="426"/>
                      </a:moveTo>
                      <a:lnTo>
                        <a:pt x="507" y="426"/>
                      </a:lnTo>
                      <a:cubicBezTo>
                        <a:pt x="518" y="426"/>
                        <a:pt x="527" y="417"/>
                        <a:pt x="527" y="406"/>
                      </a:cubicBezTo>
                      <a:cubicBezTo>
                        <a:pt x="527" y="395"/>
                        <a:pt x="518" y="386"/>
                        <a:pt x="507" y="386"/>
                      </a:cubicBezTo>
                      <a:lnTo>
                        <a:pt x="160" y="386"/>
                      </a:lnTo>
                      <a:cubicBezTo>
                        <a:pt x="149" y="386"/>
                        <a:pt x="140" y="395"/>
                        <a:pt x="140" y="406"/>
                      </a:cubicBezTo>
                      <a:cubicBezTo>
                        <a:pt x="140" y="417"/>
                        <a:pt x="149" y="426"/>
                        <a:pt x="160" y="426"/>
                      </a:cubicBezTo>
                      <a:close/>
                      <a:moveTo>
                        <a:pt x="160" y="276"/>
                      </a:moveTo>
                      <a:lnTo>
                        <a:pt x="507" y="276"/>
                      </a:lnTo>
                      <a:cubicBezTo>
                        <a:pt x="518" y="276"/>
                        <a:pt x="527" y="267"/>
                        <a:pt x="527" y="256"/>
                      </a:cubicBezTo>
                      <a:cubicBezTo>
                        <a:pt x="527" y="245"/>
                        <a:pt x="518" y="236"/>
                        <a:pt x="507" y="236"/>
                      </a:cubicBezTo>
                      <a:lnTo>
                        <a:pt x="160" y="236"/>
                      </a:lnTo>
                      <a:cubicBezTo>
                        <a:pt x="149" y="236"/>
                        <a:pt x="140" y="245"/>
                        <a:pt x="140" y="256"/>
                      </a:cubicBezTo>
                      <a:cubicBezTo>
                        <a:pt x="140" y="267"/>
                        <a:pt x="149" y="276"/>
                        <a:pt x="160" y="276"/>
                      </a:cubicBezTo>
                      <a:close/>
                      <a:moveTo>
                        <a:pt x="160" y="352"/>
                      </a:moveTo>
                      <a:lnTo>
                        <a:pt x="507" y="352"/>
                      </a:lnTo>
                      <a:cubicBezTo>
                        <a:pt x="518" y="352"/>
                        <a:pt x="527" y="343"/>
                        <a:pt x="527" y="332"/>
                      </a:cubicBezTo>
                      <a:cubicBezTo>
                        <a:pt x="527" y="321"/>
                        <a:pt x="518" y="312"/>
                        <a:pt x="507" y="312"/>
                      </a:cubicBezTo>
                      <a:lnTo>
                        <a:pt x="160" y="312"/>
                      </a:lnTo>
                      <a:cubicBezTo>
                        <a:pt x="149" y="312"/>
                        <a:pt x="140" y="321"/>
                        <a:pt x="140" y="332"/>
                      </a:cubicBezTo>
                      <a:cubicBezTo>
                        <a:pt x="140" y="343"/>
                        <a:pt x="149" y="352"/>
                        <a:pt x="160" y="352"/>
                      </a:cubicBezTo>
                      <a:close/>
                      <a:moveTo>
                        <a:pt x="607" y="105"/>
                      </a:moveTo>
                      <a:lnTo>
                        <a:pt x="607" y="483"/>
                      </a:lnTo>
                      <a:lnTo>
                        <a:pt x="647" y="483"/>
                      </a:lnTo>
                      <a:cubicBezTo>
                        <a:pt x="658" y="483"/>
                        <a:pt x="667" y="492"/>
                        <a:pt x="667" y="503"/>
                      </a:cubicBezTo>
                      <a:cubicBezTo>
                        <a:pt x="667" y="514"/>
                        <a:pt x="658" y="523"/>
                        <a:pt x="647" y="523"/>
                      </a:cubicBezTo>
                      <a:lnTo>
                        <a:pt x="20" y="523"/>
                      </a:lnTo>
                      <a:cubicBezTo>
                        <a:pt x="9" y="523"/>
                        <a:pt x="0" y="514"/>
                        <a:pt x="0" y="503"/>
                      </a:cubicBezTo>
                      <a:cubicBezTo>
                        <a:pt x="0" y="492"/>
                        <a:pt x="9" y="483"/>
                        <a:pt x="20" y="483"/>
                      </a:cubicBezTo>
                      <a:lnTo>
                        <a:pt x="60" y="483"/>
                      </a:lnTo>
                      <a:lnTo>
                        <a:pt x="60" y="105"/>
                      </a:lnTo>
                      <a:lnTo>
                        <a:pt x="20" y="105"/>
                      </a:lnTo>
                      <a:cubicBezTo>
                        <a:pt x="9" y="105"/>
                        <a:pt x="0" y="96"/>
                        <a:pt x="0" y="85"/>
                      </a:cubicBezTo>
                      <a:lnTo>
                        <a:pt x="0" y="20"/>
                      </a:lnTo>
                      <a:cubicBezTo>
                        <a:pt x="0" y="9"/>
                        <a:pt x="9" y="0"/>
                        <a:pt x="20" y="0"/>
                      </a:cubicBezTo>
                      <a:lnTo>
                        <a:pt x="647" y="0"/>
                      </a:lnTo>
                      <a:cubicBezTo>
                        <a:pt x="658" y="0"/>
                        <a:pt x="667" y="9"/>
                        <a:pt x="667" y="20"/>
                      </a:cubicBezTo>
                      <a:lnTo>
                        <a:pt x="667" y="85"/>
                      </a:lnTo>
                      <a:cubicBezTo>
                        <a:pt x="667" y="96"/>
                        <a:pt x="658" y="105"/>
                        <a:pt x="647" y="105"/>
                      </a:cubicBezTo>
                      <a:lnTo>
                        <a:pt x="607" y="105"/>
                      </a:lnTo>
                      <a:close/>
                      <a:moveTo>
                        <a:pt x="567" y="105"/>
                      </a:moveTo>
                      <a:lnTo>
                        <a:pt x="100" y="105"/>
                      </a:lnTo>
                      <a:lnTo>
                        <a:pt x="100" y="483"/>
                      </a:lnTo>
                      <a:lnTo>
                        <a:pt x="567" y="483"/>
                      </a:lnTo>
                      <a:lnTo>
                        <a:pt x="567" y="105"/>
                      </a:lnTo>
                      <a:close/>
                    </a:path>
                  </a:pathLst>
                </a:custGeom>
                <a:solidFill>
                  <a:schemeClr val="bg1"/>
                </a:solidFill>
                <a:ln>
                  <a:noFill/>
                </a:ln>
                <a:effec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p>
              </p:txBody>
            </p:sp>
          </p:grpSp>
          <p:sp>
            <p:nvSpPr>
              <p:cNvPr id="26" name="îṣļíḋe"/>
              <p:cNvSpPr/>
              <p:nvPr/>
            </p:nvSpPr>
            <p:spPr>
              <a:xfrm>
                <a:off x="1346038" y="5541315"/>
                <a:ext cx="3662680" cy="421854"/>
              </a:xfrm>
              <a:prstGeom prst="rect">
                <a:avLst/>
              </a:prstGeom>
            </p:spPr>
            <p:txBody>
              <a:bodyPr wrap="square" lIns="91440" tIns="45720" rIns="91440" bIns="45720" anchor="ctr">
                <a:noAutofit/>
              </a:bodyPr>
              <a:lstStyle/>
              <a:p>
                <a:r>
                  <a:rPr lang="zh-CN" altLang="en-US" sz="2000" dirty="0"/>
                  <a:t>定义：珠海市中小微企业“四位一体”融资平台是指由政府、金融机构（或小额贷款公司、转贷资金承办机构）、担保机构（或保险机构）和贷款企业（或转贷企业）共同组成的，旨在解决中小微企业融资问题的一种合作方式。</a:t>
                </a:r>
                <a:endParaRPr lang="zh-CN" altLang="en-US" sz="2000" dirty="0"/>
              </a:p>
            </p:txBody>
          </p:sp>
        </p:grpSp>
        <p:grpSp>
          <p:nvGrpSpPr>
            <p:cNvPr id="11" name="íṣ1ïḑê"/>
            <p:cNvGrpSpPr/>
            <p:nvPr/>
          </p:nvGrpSpPr>
          <p:grpSpPr>
            <a:xfrm>
              <a:off x="10795714" y="2111370"/>
              <a:ext cx="719376" cy="719376"/>
              <a:chOff x="6352976" y="3667948"/>
              <a:chExt cx="626342" cy="626342"/>
            </a:xfrm>
          </p:grpSpPr>
          <p:sp>
            <p:nvSpPr>
              <p:cNvPr id="19" name="îşḷídé"/>
              <p:cNvSpPr/>
              <p:nvPr/>
            </p:nvSpPr>
            <p:spPr>
              <a:xfrm>
                <a:off x="6352976" y="3667948"/>
                <a:ext cx="626342" cy="626342"/>
              </a:xfrm>
              <a:prstGeom prst="ellipse">
                <a:avLst/>
              </a:prstGeom>
              <a:solidFill>
                <a:srgbClr val="C00000"/>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p>
            </p:txBody>
          </p:sp>
          <p:sp>
            <p:nvSpPr>
              <p:cNvPr id="20" name="íṣľïḓe"/>
              <p:cNvSpPr/>
              <p:nvPr/>
            </p:nvSpPr>
            <p:spPr>
              <a:xfrm>
                <a:off x="6513894" y="3853989"/>
                <a:ext cx="311141" cy="255359"/>
              </a:xfrm>
              <a:custGeom>
                <a:avLst/>
                <a:gdLst>
                  <a:gd name="T0" fmla="*/ 318 w 753"/>
                  <a:gd name="T1" fmla="*/ 47 h 619"/>
                  <a:gd name="T2" fmla="*/ 369 w 753"/>
                  <a:gd name="T3" fmla="*/ 69 h 619"/>
                  <a:gd name="T4" fmla="*/ 458 w 753"/>
                  <a:gd name="T5" fmla="*/ 8 h 619"/>
                  <a:gd name="T6" fmla="*/ 383 w 753"/>
                  <a:gd name="T7" fmla="*/ 112 h 619"/>
                  <a:gd name="T8" fmla="*/ 355 w 753"/>
                  <a:gd name="T9" fmla="*/ 112 h 619"/>
                  <a:gd name="T10" fmla="*/ 650 w 753"/>
                  <a:gd name="T11" fmla="*/ 296 h 619"/>
                  <a:gd name="T12" fmla="*/ 690 w 753"/>
                  <a:gd name="T13" fmla="*/ 579 h 619"/>
                  <a:gd name="T14" fmla="*/ 690 w 753"/>
                  <a:gd name="T15" fmla="*/ 619 h 619"/>
                  <a:gd name="T16" fmla="*/ 43 w 753"/>
                  <a:gd name="T17" fmla="*/ 599 h 619"/>
                  <a:gd name="T18" fmla="*/ 103 w 753"/>
                  <a:gd name="T19" fmla="*/ 579 h 619"/>
                  <a:gd name="T20" fmla="*/ 0 w 753"/>
                  <a:gd name="T21" fmla="*/ 173 h 619"/>
                  <a:gd name="T22" fmla="*/ 115 w 753"/>
                  <a:gd name="T23" fmla="*/ 68 h 619"/>
                  <a:gd name="T24" fmla="*/ 267 w 753"/>
                  <a:gd name="T25" fmla="*/ 64 h 619"/>
                  <a:gd name="T26" fmla="*/ 377 w 753"/>
                  <a:gd name="T27" fmla="*/ 138 h 619"/>
                  <a:gd name="T28" fmla="*/ 486 w 753"/>
                  <a:gd name="T29" fmla="*/ 64 h 619"/>
                  <a:gd name="T30" fmla="*/ 638 w 753"/>
                  <a:gd name="T31" fmla="*/ 68 h 619"/>
                  <a:gd name="T32" fmla="*/ 753 w 753"/>
                  <a:gd name="T33" fmla="*/ 173 h 619"/>
                  <a:gd name="T34" fmla="*/ 610 w 753"/>
                  <a:gd name="T35" fmla="*/ 579 h 619"/>
                  <a:gd name="T36" fmla="*/ 544 w 753"/>
                  <a:gd name="T37" fmla="*/ 266 h 619"/>
                  <a:gd name="T38" fmla="*/ 377 w 753"/>
                  <a:gd name="T39" fmla="*/ 266 h 619"/>
                  <a:gd name="T40" fmla="*/ 209 w 753"/>
                  <a:gd name="T41" fmla="*/ 266 h 619"/>
                  <a:gd name="T42" fmla="*/ 143 w 753"/>
                  <a:gd name="T43" fmla="*/ 579 h 619"/>
                  <a:gd name="T44" fmla="*/ 412 w 753"/>
                  <a:gd name="T45" fmla="*/ 352 h 619"/>
                  <a:gd name="T46" fmla="*/ 567 w 753"/>
                  <a:gd name="T47" fmla="*/ 332 h 619"/>
                  <a:gd name="T48" fmla="*/ 587 w 753"/>
                  <a:gd name="T49" fmla="*/ 579 h 619"/>
                  <a:gd name="T50" fmla="*/ 389 w 753"/>
                  <a:gd name="T51" fmla="*/ 352 h 619"/>
                  <a:gd name="T52" fmla="*/ 369 w 753"/>
                  <a:gd name="T53" fmla="*/ 535 h 619"/>
                  <a:gd name="T54" fmla="*/ 166 w 753"/>
                  <a:gd name="T55" fmla="*/ 515 h 619"/>
                  <a:gd name="T56" fmla="*/ 186 w 753"/>
                  <a:gd name="T57" fmla="*/ 332 h 619"/>
                  <a:gd name="T58" fmla="*/ 389 w 753"/>
                  <a:gd name="T59" fmla="*/ 352 h 619"/>
                  <a:gd name="T60" fmla="*/ 206 w 753"/>
                  <a:gd name="T61" fmla="*/ 372 h 619"/>
                  <a:gd name="T62" fmla="*/ 349 w 753"/>
                  <a:gd name="T63" fmla="*/ 495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3" h="619">
                    <a:moveTo>
                      <a:pt x="318" y="75"/>
                    </a:moveTo>
                    <a:cubicBezTo>
                      <a:pt x="311" y="67"/>
                      <a:pt x="311" y="55"/>
                      <a:pt x="318" y="47"/>
                    </a:cubicBezTo>
                    <a:cubicBezTo>
                      <a:pt x="326" y="39"/>
                      <a:pt x="339" y="39"/>
                      <a:pt x="347" y="47"/>
                    </a:cubicBezTo>
                    <a:lnTo>
                      <a:pt x="369" y="69"/>
                    </a:lnTo>
                    <a:lnTo>
                      <a:pt x="430" y="8"/>
                    </a:lnTo>
                    <a:cubicBezTo>
                      <a:pt x="438" y="0"/>
                      <a:pt x="451" y="0"/>
                      <a:pt x="458" y="8"/>
                    </a:cubicBezTo>
                    <a:cubicBezTo>
                      <a:pt x="466" y="16"/>
                      <a:pt x="466" y="28"/>
                      <a:pt x="458" y="36"/>
                    </a:cubicBezTo>
                    <a:lnTo>
                      <a:pt x="383" y="112"/>
                    </a:lnTo>
                    <a:cubicBezTo>
                      <a:pt x="379" y="115"/>
                      <a:pt x="374" y="117"/>
                      <a:pt x="369" y="117"/>
                    </a:cubicBezTo>
                    <a:cubicBezTo>
                      <a:pt x="364" y="117"/>
                      <a:pt x="359" y="115"/>
                      <a:pt x="355" y="112"/>
                    </a:cubicBezTo>
                    <a:lnTo>
                      <a:pt x="318" y="75"/>
                    </a:lnTo>
                    <a:close/>
                    <a:moveTo>
                      <a:pt x="650" y="296"/>
                    </a:moveTo>
                    <a:lnTo>
                      <a:pt x="650" y="579"/>
                    </a:lnTo>
                    <a:lnTo>
                      <a:pt x="690" y="579"/>
                    </a:lnTo>
                    <a:cubicBezTo>
                      <a:pt x="701" y="579"/>
                      <a:pt x="710" y="588"/>
                      <a:pt x="710" y="599"/>
                    </a:cubicBezTo>
                    <a:cubicBezTo>
                      <a:pt x="710" y="610"/>
                      <a:pt x="701" y="619"/>
                      <a:pt x="690" y="619"/>
                    </a:cubicBezTo>
                    <a:lnTo>
                      <a:pt x="63" y="619"/>
                    </a:lnTo>
                    <a:cubicBezTo>
                      <a:pt x="52" y="619"/>
                      <a:pt x="43" y="610"/>
                      <a:pt x="43" y="599"/>
                    </a:cubicBezTo>
                    <a:cubicBezTo>
                      <a:pt x="43" y="588"/>
                      <a:pt x="52" y="579"/>
                      <a:pt x="63" y="579"/>
                    </a:cubicBezTo>
                    <a:lnTo>
                      <a:pt x="103" y="579"/>
                    </a:lnTo>
                    <a:lnTo>
                      <a:pt x="103" y="296"/>
                    </a:lnTo>
                    <a:cubicBezTo>
                      <a:pt x="45" y="286"/>
                      <a:pt x="0" y="234"/>
                      <a:pt x="0" y="173"/>
                    </a:cubicBezTo>
                    <a:cubicBezTo>
                      <a:pt x="0" y="167"/>
                      <a:pt x="3" y="161"/>
                      <a:pt x="7" y="157"/>
                    </a:cubicBezTo>
                    <a:lnTo>
                      <a:pt x="115" y="68"/>
                    </a:lnTo>
                    <a:cubicBezTo>
                      <a:pt x="119" y="65"/>
                      <a:pt x="123" y="64"/>
                      <a:pt x="128" y="64"/>
                    </a:cubicBezTo>
                    <a:lnTo>
                      <a:pt x="267" y="64"/>
                    </a:lnTo>
                    <a:cubicBezTo>
                      <a:pt x="275" y="64"/>
                      <a:pt x="283" y="69"/>
                      <a:pt x="286" y="76"/>
                    </a:cubicBezTo>
                    <a:cubicBezTo>
                      <a:pt x="301" y="114"/>
                      <a:pt x="336" y="138"/>
                      <a:pt x="377" y="138"/>
                    </a:cubicBezTo>
                    <a:cubicBezTo>
                      <a:pt x="417" y="138"/>
                      <a:pt x="453" y="114"/>
                      <a:pt x="468" y="76"/>
                    </a:cubicBezTo>
                    <a:cubicBezTo>
                      <a:pt x="471" y="69"/>
                      <a:pt x="478" y="64"/>
                      <a:pt x="486" y="64"/>
                    </a:cubicBezTo>
                    <a:lnTo>
                      <a:pt x="626" y="64"/>
                    </a:lnTo>
                    <a:cubicBezTo>
                      <a:pt x="630" y="64"/>
                      <a:pt x="635" y="65"/>
                      <a:pt x="638" y="68"/>
                    </a:cubicBezTo>
                    <a:lnTo>
                      <a:pt x="746" y="157"/>
                    </a:lnTo>
                    <a:cubicBezTo>
                      <a:pt x="751" y="161"/>
                      <a:pt x="753" y="167"/>
                      <a:pt x="753" y="173"/>
                    </a:cubicBezTo>
                    <a:cubicBezTo>
                      <a:pt x="753" y="234"/>
                      <a:pt x="709" y="286"/>
                      <a:pt x="650" y="296"/>
                    </a:cubicBezTo>
                    <a:close/>
                    <a:moveTo>
                      <a:pt x="610" y="579"/>
                    </a:moveTo>
                    <a:lnTo>
                      <a:pt x="610" y="297"/>
                    </a:lnTo>
                    <a:cubicBezTo>
                      <a:pt x="585" y="293"/>
                      <a:pt x="563" y="283"/>
                      <a:pt x="544" y="266"/>
                    </a:cubicBezTo>
                    <a:cubicBezTo>
                      <a:pt x="521" y="287"/>
                      <a:pt x="492" y="298"/>
                      <a:pt x="460" y="298"/>
                    </a:cubicBezTo>
                    <a:cubicBezTo>
                      <a:pt x="429" y="298"/>
                      <a:pt x="400" y="287"/>
                      <a:pt x="377" y="266"/>
                    </a:cubicBezTo>
                    <a:cubicBezTo>
                      <a:pt x="354" y="287"/>
                      <a:pt x="324" y="298"/>
                      <a:pt x="293" y="298"/>
                    </a:cubicBezTo>
                    <a:cubicBezTo>
                      <a:pt x="262" y="298"/>
                      <a:pt x="232" y="287"/>
                      <a:pt x="209" y="266"/>
                    </a:cubicBezTo>
                    <a:cubicBezTo>
                      <a:pt x="191" y="283"/>
                      <a:pt x="168" y="293"/>
                      <a:pt x="143" y="297"/>
                    </a:cubicBezTo>
                    <a:lnTo>
                      <a:pt x="143" y="579"/>
                    </a:lnTo>
                    <a:lnTo>
                      <a:pt x="412" y="579"/>
                    </a:lnTo>
                    <a:lnTo>
                      <a:pt x="412" y="352"/>
                    </a:lnTo>
                    <a:cubicBezTo>
                      <a:pt x="412" y="341"/>
                      <a:pt x="421" y="332"/>
                      <a:pt x="432" y="332"/>
                    </a:cubicBezTo>
                    <a:lnTo>
                      <a:pt x="567" y="332"/>
                    </a:lnTo>
                    <a:cubicBezTo>
                      <a:pt x="578" y="332"/>
                      <a:pt x="587" y="341"/>
                      <a:pt x="587" y="352"/>
                    </a:cubicBezTo>
                    <a:lnTo>
                      <a:pt x="587" y="579"/>
                    </a:lnTo>
                    <a:lnTo>
                      <a:pt x="610" y="579"/>
                    </a:lnTo>
                    <a:close/>
                    <a:moveTo>
                      <a:pt x="389" y="352"/>
                    </a:moveTo>
                    <a:lnTo>
                      <a:pt x="389" y="515"/>
                    </a:lnTo>
                    <a:cubicBezTo>
                      <a:pt x="389" y="527"/>
                      <a:pt x="380" y="535"/>
                      <a:pt x="369" y="535"/>
                    </a:cubicBezTo>
                    <a:lnTo>
                      <a:pt x="186" y="535"/>
                    </a:lnTo>
                    <a:cubicBezTo>
                      <a:pt x="175" y="535"/>
                      <a:pt x="166" y="527"/>
                      <a:pt x="166" y="515"/>
                    </a:cubicBezTo>
                    <a:lnTo>
                      <a:pt x="166" y="352"/>
                    </a:lnTo>
                    <a:cubicBezTo>
                      <a:pt x="166" y="341"/>
                      <a:pt x="175" y="332"/>
                      <a:pt x="186" y="332"/>
                    </a:cubicBezTo>
                    <a:lnTo>
                      <a:pt x="369" y="332"/>
                    </a:lnTo>
                    <a:cubicBezTo>
                      <a:pt x="380" y="332"/>
                      <a:pt x="389" y="341"/>
                      <a:pt x="389" y="352"/>
                    </a:cubicBezTo>
                    <a:close/>
                    <a:moveTo>
                      <a:pt x="349" y="372"/>
                    </a:moveTo>
                    <a:lnTo>
                      <a:pt x="206" y="372"/>
                    </a:lnTo>
                    <a:lnTo>
                      <a:pt x="206" y="495"/>
                    </a:lnTo>
                    <a:lnTo>
                      <a:pt x="349" y="495"/>
                    </a:lnTo>
                    <a:lnTo>
                      <a:pt x="349" y="372"/>
                    </a:lnTo>
                    <a:close/>
                  </a:path>
                </a:pathLst>
              </a:custGeom>
              <a:solidFill>
                <a:schemeClr val="bg1"/>
              </a:solidFill>
              <a:ln>
                <a:noFill/>
              </a:ln>
              <a:effec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p>
            </p:txBody>
          </p:sp>
        </p:grpSp>
        <p:grpSp>
          <p:nvGrpSpPr>
            <p:cNvPr id="12" name="íSlîḓê"/>
            <p:cNvGrpSpPr/>
            <p:nvPr/>
          </p:nvGrpSpPr>
          <p:grpSpPr>
            <a:xfrm>
              <a:off x="10799524" y="4906712"/>
              <a:ext cx="719376" cy="719378"/>
              <a:chOff x="6356293" y="5021567"/>
              <a:chExt cx="626342" cy="626342"/>
            </a:xfrm>
          </p:grpSpPr>
          <p:sp>
            <p:nvSpPr>
              <p:cNvPr id="17" name="iṧļîdé"/>
              <p:cNvSpPr/>
              <p:nvPr/>
            </p:nvSpPr>
            <p:spPr>
              <a:xfrm>
                <a:off x="6356293" y="5021567"/>
                <a:ext cx="626342" cy="626342"/>
              </a:xfrm>
              <a:prstGeom prst="ellipse">
                <a:avLst/>
              </a:prstGeom>
              <a:solidFill>
                <a:srgbClr val="C00000"/>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p>
            </p:txBody>
          </p:sp>
          <p:sp>
            <p:nvSpPr>
              <p:cNvPr id="18" name="ïşlïḋè"/>
              <p:cNvSpPr/>
              <p:nvPr/>
            </p:nvSpPr>
            <p:spPr>
              <a:xfrm>
                <a:off x="6513894" y="5215366"/>
                <a:ext cx="311141" cy="243687"/>
              </a:xfrm>
              <a:custGeom>
                <a:avLst/>
                <a:gdLst>
                  <a:gd name="T0" fmla="*/ 140 w 667"/>
                  <a:gd name="T1" fmla="*/ 182 h 523"/>
                  <a:gd name="T2" fmla="*/ 160 w 667"/>
                  <a:gd name="T3" fmla="*/ 162 h 523"/>
                  <a:gd name="T4" fmla="*/ 507 w 667"/>
                  <a:gd name="T5" fmla="*/ 162 h 523"/>
                  <a:gd name="T6" fmla="*/ 527 w 667"/>
                  <a:gd name="T7" fmla="*/ 182 h 523"/>
                  <a:gd name="T8" fmla="*/ 507 w 667"/>
                  <a:gd name="T9" fmla="*/ 202 h 523"/>
                  <a:gd name="T10" fmla="*/ 160 w 667"/>
                  <a:gd name="T11" fmla="*/ 202 h 523"/>
                  <a:gd name="T12" fmla="*/ 140 w 667"/>
                  <a:gd name="T13" fmla="*/ 182 h 523"/>
                  <a:gd name="T14" fmla="*/ 160 w 667"/>
                  <a:gd name="T15" fmla="*/ 426 h 523"/>
                  <a:gd name="T16" fmla="*/ 507 w 667"/>
                  <a:gd name="T17" fmla="*/ 426 h 523"/>
                  <a:gd name="T18" fmla="*/ 527 w 667"/>
                  <a:gd name="T19" fmla="*/ 406 h 523"/>
                  <a:gd name="T20" fmla="*/ 507 w 667"/>
                  <a:gd name="T21" fmla="*/ 386 h 523"/>
                  <a:gd name="T22" fmla="*/ 160 w 667"/>
                  <a:gd name="T23" fmla="*/ 386 h 523"/>
                  <a:gd name="T24" fmla="*/ 140 w 667"/>
                  <a:gd name="T25" fmla="*/ 406 h 523"/>
                  <a:gd name="T26" fmla="*/ 160 w 667"/>
                  <a:gd name="T27" fmla="*/ 426 h 523"/>
                  <a:gd name="T28" fmla="*/ 160 w 667"/>
                  <a:gd name="T29" fmla="*/ 276 h 523"/>
                  <a:gd name="T30" fmla="*/ 507 w 667"/>
                  <a:gd name="T31" fmla="*/ 276 h 523"/>
                  <a:gd name="T32" fmla="*/ 527 w 667"/>
                  <a:gd name="T33" fmla="*/ 256 h 523"/>
                  <a:gd name="T34" fmla="*/ 507 w 667"/>
                  <a:gd name="T35" fmla="*/ 236 h 523"/>
                  <a:gd name="T36" fmla="*/ 160 w 667"/>
                  <a:gd name="T37" fmla="*/ 236 h 523"/>
                  <a:gd name="T38" fmla="*/ 140 w 667"/>
                  <a:gd name="T39" fmla="*/ 256 h 523"/>
                  <a:gd name="T40" fmla="*/ 160 w 667"/>
                  <a:gd name="T41" fmla="*/ 276 h 523"/>
                  <a:gd name="T42" fmla="*/ 160 w 667"/>
                  <a:gd name="T43" fmla="*/ 352 h 523"/>
                  <a:gd name="T44" fmla="*/ 507 w 667"/>
                  <a:gd name="T45" fmla="*/ 352 h 523"/>
                  <a:gd name="T46" fmla="*/ 527 w 667"/>
                  <a:gd name="T47" fmla="*/ 332 h 523"/>
                  <a:gd name="T48" fmla="*/ 507 w 667"/>
                  <a:gd name="T49" fmla="*/ 312 h 523"/>
                  <a:gd name="T50" fmla="*/ 160 w 667"/>
                  <a:gd name="T51" fmla="*/ 312 h 523"/>
                  <a:gd name="T52" fmla="*/ 140 w 667"/>
                  <a:gd name="T53" fmla="*/ 332 h 523"/>
                  <a:gd name="T54" fmla="*/ 160 w 667"/>
                  <a:gd name="T55" fmla="*/ 352 h 523"/>
                  <a:gd name="T56" fmla="*/ 607 w 667"/>
                  <a:gd name="T57" fmla="*/ 105 h 523"/>
                  <a:gd name="T58" fmla="*/ 607 w 667"/>
                  <a:gd name="T59" fmla="*/ 483 h 523"/>
                  <a:gd name="T60" fmla="*/ 647 w 667"/>
                  <a:gd name="T61" fmla="*/ 483 h 523"/>
                  <a:gd name="T62" fmla="*/ 667 w 667"/>
                  <a:gd name="T63" fmla="*/ 503 h 523"/>
                  <a:gd name="T64" fmla="*/ 647 w 667"/>
                  <a:gd name="T65" fmla="*/ 523 h 523"/>
                  <a:gd name="T66" fmla="*/ 20 w 667"/>
                  <a:gd name="T67" fmla="*/ 523 h 523"/>
                  <a:gd name="T68" fmla="*/ 0 w 667"/>
                  <a:gd name="T69" fmla="*/ 503 h 523"/>
                  <a:gd name="T70" fmla="*/ 20 w 667"/>
                  <a:gd name="T71" fmla="*/ 483 h 523"/>
                  <a:gd name="T72" fmla="*/ 60 w 667"/>
                  <a:gd name="T73" fmla="*/ 483 h 523"/>
                  <a:gd name="T74" fmla="*/ 60 w 667"/>
                  <a:gd name="T75" fmla="*/ 105 h 523"/>
                  <a:gd name="T76" fmla="*/ 20 w 667"/>
                  <a:gd name="T77" fmla="*/ 105 h 523"/>
                  <a:gd name="T78" fmla="*/ 0 w 667"/>
                  <a:gd name="T79" fmla="*/ 85 h 523"/>
                  <a:gd name="T80" fmla="*/ 0 w 667"/>
                  <a:gd name="T81" fmla="*/ 20 h 523"/>
                  <a:gd name="T82" fmla="*/ 20 w 667"/>
                  <a:gd name="T83" fmla="*/ 0 h 523"/>
                  <a:gd name="T84" fmla="*/ 647 w 667"/>
                  <a:gd name="T85" fmla="*/ 0 h 523"/>
                  <a:gd name="T86" fmla="*/ 667 w 667"/>
                  <a:gd name="T87" fmla="*/ 20 h 523"/>
                  <a:gd name="T88" fmla="*/ 667 w 667"/>
                  <a:gd name="T89" fmla="*/ 85 h 523"/>
                  <a:gd name="T90" fmla="*/ 647 w 667"/>
                  <a:gd name="T91" fmla="*/ 105 h 523"/>
                  <a:gd name="T92" fmla="*/ 607 w 667"/>
                  <a:gd name="T93" fmla="*/ 105 h 523"/>
                  <a:gd name="T94" fmla="*/ 567 w 667"/>
                  <a:gd name="T95" fmla="*/ 105 h 523"/>
                  <a:gd name="T96" fmla="*/ 100 w 667"/>
                  <a:gd name="T97" fmla="*/ 105 h 523"/>
                  <a:gd name="T98" fmla="*/ 100 w 667"/>
                  <a:gd name="T99" fmla="*/ 483 h 523"/>
                  <a:gd name="T100" fmla="*/ 567 w 667"/>
                  <a:gd name="T101" fmla="*/ 483 h 523"/>
                  <a:gd name="T102" fmla="*/ 567 w 667"/>
                  <a:gd name="T103" fmla="*/ 10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67" h="523">
                    <a:moveTo>
                      <a:pt x="140" y="182"/>
                    </a:moveTo>
                    <a:cubicBezTo>
                      <a:pt x="140" y="171"/>
                      <a:pt x="149" y="162"/>
                      <a:pt x="160" y="162"/>
                    </a:cubicBezTo>
                    <a:lnTo>
                      <a:pt x="507" y="162"/>
                    </a:lnTo>
                    <a:cubicBezTo>
                      <a:pt x="518" y="162"/>
                      <a:pt x="527" y="171"/>
                      <a:pt x="527" y="182"/>
                    </a:cubicBezTo>
                    <a:cubicBezTo>
                      <a:pt x="527" y="193"/>
                      <a:pt x="518" y="202"/>
                      <a:pt x="507" y="202"/>
                    </a:cubicBezTo>
                    <a:lnTo>
                      <a:pt x="160" y="202"/>
                    </a:lnTo>
                    <a:cubicBezTo>
                      <a:pt x="149" y="202"/>
                      <a:pt x="140" y="193"/>
                      <a:pt x="140" y="182"/>
                    </a:cubicBezTo>
                    <a:close/>
                    <a:moveTo>
                      <a:pt x="160" y="426"/>
                    </a:moveTo>
                    <a:lnTo>
                      <a:pt x="507" y="426"/>
                    </a:lnTo>
                    <a:cubicBezTo>
                      <a:pt x="518" y="426"/>
                      <a:pt x="527" y="417"/>
                      <a:pt x="527" y="406"/>
                    </a:cubicBezTo>
                    <a:cubicBezTo>
                      <a:pt x="527" y="395"/>
                      <a:pt x="518" y="386"/>
                      <a:pt x="507" y="386"/>
                    </a:cubicBezTo>
                    <a:lnTo>
                      <a:pt x="160" y="386"/>
                    </a:lnTo>
                    <a:cubicBezTo>
                      <a:pt x="149" y="386"/>
                      <a:pt x="140" y="395"/>
                      <a:pt x="140" y="406"/>
                    </a:cubicBezTo>
                    <a:cubicBezTo>
                      <a:pt x="140" y="417"/>
                      <a:pt x="149" y="426"/>
                      <a:pt x="160" y="426"/>
                    </a:cubicBezTo>
                    <a:close/>
                    <a:moveTo>
                      <a:pt x="160" y="276"/>
                    </a:moveTo>
                    <a:lnTo>
                      <a:pt x="507" y="276"/>
                    </a:lnTo>
                    <a:cubicBezTo>
                      <a:pt x="518" y="276"/>
                      <a:pt x="527" y="267"/>
                      <a:pt x="527" y="256"/>
                    </a:cubicBezTo>
                    <a:cubicBezTo>
                      <a:pt x="527" y="245"/>
                      <a:pt x="518" y="236"/>
                      <a:pt x="507" y="236"/>
                    </a:cubicBezTo>
                    <a:lnTo>
                      <a:pt x="160" y="236"/>
                    </a:lnTo>
                    <a:cubicBezTo>
                      <a:pt x="149" y="236"/>
                      <a:pt x="140" y="245"/>
                      <a:pt x="140" y="256"/>
                    </a:cubicBezTo>
                    <a:cubicBezTo>
                      <a:pt x="140" y="267"/>
                      <a:pt x="149" y="276"/>
                      <a:pt x="160" y="276"/>
                    </a:cubicBezTo>
                    <a:close/>
                    <a:moveTo>
                      <a:pt x="160" y="352"/>
                    </a:moveTo>
                    <a:lnTo>
                      <a:pt x="507" y="352"/>
                    </a:lnTo>
                    <a:cubicBezTo>
                      <a:pt x="518" y="352"/>
                      <a:pt x="527" y="343"/>
                      <a:pt x="527" y="332"/>
                    </a:cubicBezTo>
                    <a:cubicBezTo>
                      <a:pt x="527" y="321"/>
                      <a:pt x="518" y="312"/>
                      <a:pt x="507" y="312"/>
                    </a:cubicBezTo>
                    <a:lnTo>
                      <a:pt x="160" y="312"/>
                    </a:lnTo>
                    <a:cubicBezTo>
                      <a:pt x="149" y="312"/>
                      <a:pt x="140" y="321"/>
                      <a:pt x="140" y="332"/>
                    </a:cubicBezTo>
                    <a:cubicBezTo>
                      <a:pt x="140" y="343"/>
                      <a:pt x="149" y="352"/>
                      <a:pt x="160" y="352"/>
                    </a:cubicBezTo>
                    <a:close/>
                    <a:moveTo>
                      <a:pt x="607" y="105"/>
                    </a:moveTo>
                    <a:lnTo>
                      <a:pt x="607" y="483"/>
                    </a:lnTo>
                    <a:lnTo>
                      <a:pt x="647" y="483"/>
                    </a:lnTo>
                    <a:cubicBezTo>
                      <a:pt x="658" y="483"/>
                      <a:pt x="667" y="492"/>
                      <a:pt x="667" y="503"/>
                    </a:cubicBezTo>
                    <a:cubicBezTo>
                      <a:pt x="667" y="514"/>
                      <a:pt x="658" y="523"/>
                      <a:pt x="647" y="523"/>
                    </a:cubicBezTo>
                    <a:lnTo>
                      <a:pt x="20" y="523"/>
                    </a:lnTo>
                    <a:cubicBezTo>
                      <a:pt x="9" y="523"/>
                      <a:pt x="0" y="514"/>
                      <a:pt x="0" y="503"/>
                    </a:cubicBezTo>
                    <a:cubicBezTo>
                      <a:pt x="0" y="492"/>
                      <a:pt x="9" y="483"/>
                      <a:pt x="20" y="483"/>
                    </a:cubicBezTo>
                    <a:lnTo>
                      <a:pt x="60" y="483"/>
                    </a:lnTo>
                    <a:lnTo>
                      <a:pt x="60" y="105"/>
                    </a:lnTo>
                    <a:lnTo>
                      <a:pt x="20" y="105"/>
                    </a:lnTo>
                    <a:cubicBezTo>
                      <a:pt x="9" y="105"/>
                      <a:pt x="0" y="96"/>
                      <a:pt x="0" y="85"/>
                    </a:cubicBezTo>
                    <a:lnTo>
                      <a:pt x="0" y="20"/>
                    </a:lnTo>
                    <a:cubicBezTo>
                      <a:pt x="0" y="9"/>
                      <a:pt x="9" y="0"/>
                      <a:pt x="20" y="0"/>
                    </a:cubicBezTo>
                    <a:lnTo>
                      <a:pt x="647" y="0"/>
                    </a:lnTo>
                    <a:cubicBezTo>
                      <a:pt x="658" y="0"/>
                      <a:pt x="667" y="9"/>
                      <a:pt x="667" y="20"/>
                    </a:cubicBezTo>
                    <a:lnTo>
                      <a:pt x="667" y="85"/>
                    </a:lnTo>
                    <a:cubicBezTo>
                      <a:pt x="667" y="96"/>
                      <a:pt x="658" y="105"/>
                      <a:pt x="647" y="105"/>
                    </a:cubicBezTo>
                    <a:lnTo>
                      <a:pt x="607" y="105"/>
                    </a:lnTo>
                    <a:close/>
                    <a:moveTo>
                      <a:pt x="567" y="105"/>
                    </a:moveTo>
                    <a:lnTo>
                      <a:pt x="100" y="105"/>
                    </a:lnTo>
                    <a:lnTo>
                      <a:pt x="100" y="483"/>
                    </a:lnTo>
                    <a:lnTo>
                      <a:pt x="567" y="483"/>
                    </a:lnTo>
                    <a:lnTo>
                      <a:pt x="567" y="105"/>
                    </a:lnTo>
                    <a:close/>
                  </a:path>
                </a:pathLst>
              </a:custGeom>
              <a:solidFill>
                <a:schemeClr val="bg1"/>
              </a:solidFill>
              <a:ln>
                <a:noFill/>
              </a:ln>
              <a:effec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p>
            </p:txBody>
          </p:sp>
        </p:grpSp>
        <p:sp>
          <p:nvSpPr>
            <p:cNvPr id="14" name="îŝ1îḑe"/>
            <p:cNvSpPr/>
            <p:nvPr/>
          </p:nvSpPr>
          <p:spPr>
            <a:xfrm>
              <a:off x="7505700" y="1750127"/>
              <a:ext cx="3093085" cy="1610141"/>
            </a:xfrm>
            <a:prstGeom prst="rect">
              <a:avLst/>
            </a:prstGeom>
          </p:spPr>
          <p:txBody>
            <a:bodyPr wrap="square" lIns="91440" tIns="45720" rIns="91440" bIns="45720" anchor="ctr">
              <a:noAutofit/>
            </a:bodyPr>
            <a:lstStyle/>
            <a:p>
              <a:pPr algn="r"/>
              <a:r>
                <a:rPr lang="zh-CN" altLang="en-US" sz="2000" dirty="0">
                  <a:latin typeface="+mn-ea"/>
                  <a:cs typeface="+mn-ea"/>
                  <a:sym typeface="+mn-ea"/>
                </a:rPr>
                <a:t>资金：省市财政安排</a:t>
              </a:r>
              <a:r>
                <a:rPr lang="zh-CN" altLang="en-US" sz="2000" dirty="0">
                  <a:latin typeface="+mn-ea"/>
                  <a:cs typeface="+mn-ea"/>
                </a:rPr>
                <a:t>信贷风险补偿资金及贷款贴息资金</a:t>
              </a:r>
              <a:r>
                <a:rPr lang="en-US" altLang="zh-CN" sz="2000" dirty="0">
                  <a:latin typeface="+mn-ea"/>
                  <a:cs typeface="+mn-ea"/>
                </a:rPr>
                <a:t>2.93</a:t>
              </a:r>
              <a:r>
                <a:rPr lang="zh-CN" altLang="en-US" sz="2000" dirty="0">
                  <a:latin typeface="+mn-ea"/>
                  <a:cs typeface="+mn-ea"/>
                </a:rPr>
                <a:t>亿元用于为企业分担贷款风险、降低贷款成本的专项资金，包括信贷风险补偿、贷款贴息。</a:t>
              </a:r>
              <a:endParaRPr lang="zh-CN" altLang="en-US" sz="2000" dirty="0">
                <a:latin typeface="+mn-ea"/>
                <a:cs typeface="+mn-ea"/>
              </a:endParaRPr>
            </a:p>
          </p:txBody>
        </p:sp>
        <p:sp>
          <p:nvSpPr>
            <p:cNvPr id="16" name="ïṥlíḓe"/>
            <p:cNvSpPr/>
            <p:nvPr/>
          </p:nvSpPr>
          <p:spPr>
            <a:xfrm>
              <a:off x="7611110" y="5129396"/>
              <a:ext cx="3059430" cy="1043235"/>
            </a:xfrm>
            <a:prstGeom prst="rect">
              <a:avLst/>
            </a:prstGeom>
          </p:spPr>
          <p:txBody>
            <a:bodyPr wrap="square" lIns="91440" tIns="45720" rIns="91440" bIns="45720" anchor="ctr">
              <a:noAutofit/>
            </a:bodyPr>
            <a:lstStyle/>
            <a:p>
              <a:pPr algn="l"/>
              <a:r>
                <a:rPr lang="zh-CN" altLang="en-US" sz="2000" dirty="0"/>
                <a:t>范围：《珠海市产业发展导向目录》中优先发展类和鼓励发展类</a:t>
              </a:r>
              <a:r>
                <a:rPr lang="zh-CN" altLang="en-US" sz="2000" dirty="0">
                  <a:sym typeface="+mn-ea"/>
                </a:rPr>
                <a:t>中小微</a:t>
              </a:r>
              <a:r>
                <a:rPr lang="zh-CN" altLang="en-US" sz="2000" dirty="0"/>
                <a:t>企业、战略性新兴产业的中小微企业、工业企业技术改造的中小微企业、工业、制造业、软件和信息服务业的中小微企业等。</a:t>
              </a:r>
              <a:endParaRPr lang="zh-CN" altLang="en-US" sz="2000" dirty="0"/>
            </a:p>
          </p:txBody>
        </p:sp>
      </p:grpSp>
      <p:sp>
        <p:nvSpPr>
          <p:cNvPr id="2" name="标题 1"/>
          <p:cNvSpPr>
            <a:spLocks noGrp="1"/>
          </p:cNvSpPr>
          <p:nvPr>
            <p:ph type="title"/>
          </p:nvPr>
        </p:nvSpPr>
        <p:spPr>
          <a:xfrm>
            <a:off x="618215" y="364158"/>
            <a:ext cx="10850563" cy="619666"/>
          </a:xfrm>
        </p:spPr>
        <p:txBody>
          <a:bodyPr>
            <a:normAutofit/>
          </a:bodyPr>
          <a:lstStyle/>
          <a:p>
            <a:r>
              <a:rPr lang="zh-CN" altLang="zh-CN" dirty="0"/>
              <a:t>一、四位一体融资平台政策要义</a:t>
            </a:r>
            <a:endParaRPr lang="zh-CN" altLang="zh-CN" dirty="0"/>
          </a:p>
        </p:txBody>
      </p:sp>
      <p:cxnSp>
        <p:nvCxnSpPr>
          <p:cNvPr id="4" name="直接连接符 3"/>
          <p:cNvCxnSpPr/>
          <p:nvPr/>
        </p:nvCxnSpPr>
        <p:spPr>
          <a:xfrm>
            <a:off x="643382" y="1028700"/>
            <a:ext cx="10872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二、</a:t>
            </a:r>
            <a:r>
              <a:rPr lang="zh-CN" altLang="en-US" dirty="0"/>
              <a:t>政策依据与服务</a:t>
            </a:r>
            <a:endParaRPr lang="zh-CN" altLang="en-US" dirty="0"/>
          </a:p>
        </p:txBody>
      </p:sp>
      <p:sp>
        <p:nvSpPr>
          <p:cNvPr id="5" name="等腰三角形 2"/>
          <p:cNvSpPr/>
          <p:nvPr/>
        </p:nvSpPr>
        <p:spPr bwMode="auto">
          <a:xfrm rot="3036074">
            <a:off x="5946273" y="1775147"/>
            <a:ext cx="1584000" cy="1692000"/>
          </a:xfrm>
          <a:custGeom>
            <a:avLst/>
            <a:gdLst>
              <a:gd name="T0" fmla="*/ 894556 w 1152128"/>
              <a:gd name="T1" fmla="*/ 0 h 1333073"/>
              <a:gd name="T2" fmla="*/ 1067647 w 1152128"/>
              <a:gd name="T3" fmla="*/ 298435 h 1333073"/>
              <a:gd name="T4" fmla="*/ 1789112 w 1152128"/>
              <a:gd name="T5" fmla="*/ 1175543 h 1333073"/>
              <a:gd name="T6" fmla="*/ 894556 w 1152128"/>
              <a:gd name="T7" fmla="*/ 2070100 h 1333073"/>
              <a:gd name="T8" fmla="*/ 0 w 1152128"/>
              <a:gd name="T9" fmla="*/ 1175543 h 1333073"/>
              <a:gd name="T10" fmla="*/ 721465 w 1152128"/>
              <a:gd name="T11" fmla="*/ 298435 h 1333073"/>
              <a:gd name="T12" fmla="*/ 894556 w 1152128"/>
              <a:gd name="T13" fmla="*/ 0 h 13330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128" h="1333073">
                <a:moveTo>
                  <a:pt x="576064" y="0"/>
                </a:moveTo>
                <a:lnTo>
                  <a:pt x="687529" y="192182"/>
                </a:lnTo>
                <a:cubicBezTo>
                  <a:pt x="952381" y="243689"/>
                  <a:pt x="1152128" y="477023"/>
                  <a:pt x="1152128" y="757009"/>
                </a:cubicBezTo>
                <a:cubicBezTo>
                  <a:pt x="1152128" y="1075160"/>
                  <a:pt x="894215" y="1333073"/>
                  <a:pt x="576064" y="1333073"/>
                </a:cubicBezTo>
                <a:cubicBezTo>
                  <a:pt x="257913" y="1333073"/>
                  <a:pt x="0" y="1075160"/>
                  <a:pt x="0" y="757009"/>
                </a:cubicBezTo>
                <a:cubicBezTo>
                  <a:pt x="0" y="477023"/>
                  <a:pt x="199747" y="243689"/>
                  <a:pt x="464599" y="192182"/>
                </a:cubicBezTo>
                <a:lnTo>
                  <a:pt x="576064" y="0"/>
                </a:lnTo>
                <a:close/>
              </a:path>
            </a:pathLst>
          </a:custGeom>
          <a:solidFill>
            <a:schemeClr val="accent4">
              <a:lumMod val="75000"/>
            </a:schemeClr>
          </a:solidFill>
          <a:ln w="28575" cmpd="sng">
            <a:solidFill>
              <a:srgbClr val="F8F8F8"/>
            </a:solidFill>
            <a:round/>
          </a:ln>
        </p:spPr>
        <p:txBody>
          <a:bodyPr wrap="none" anchor="ctr"/>
          <a:lstStyle/>
          <a:p>
            <a:endParaRPr lang="zh-CN" altLang="en-US"/>
          </a:p>
        </p:txBody>
      </p:sp>
      <p:sp>
        <p:nvSpPr>
          <p:cNvPr id="6" name="TextBox 24"/>
          <p:cNvSpPr txBox="1">
            <a:spLocks noChangeArrowheads="1"/>
          </p:cNvSpPr>
          <p:nvPr/>
        </p:nvSpPr>
        <p:spPr bwMode="auto">
          <a:xfrm>
            <a:off x="6253371" y="2413328"/>
            <a:ext cx="911493" cy="523601"/>
          </a:xfrm>
          <a:prstGeom prst="rect">
            <a:avLst/>
          </a:prstGeom>
          <a:noFill/>
          <a:ln w="9525">
            <a:noFill/>
            <a:miter lim="800000"/>
          </a:ln>
        </p:spPr>
        <p:txBody>
          <a:bodyPr wrap="none" anchor="ctr"/>
          <a:lstStyle/>
          <a:p>
            <a:pPr algn="ctr"/>
            <a:r>
              <a:rPr lang="zh-CN" altLang="en-US" b="1" dirty="0">
                <a:solidFill>
                  <a:srgbClr val="FFFFFF"/>
                </a:solidFill>
                <a:latin typeface="微软雅黑" panose="020B0503020204020204" pitchFamily="34" charset="-122"/>
                <a:ea typeface="微软雅黑" panose="020B0503020204020204" pitchFamily="34" charset="-122"/>
              </a:rPr>
              <a:t>产品支持</a:t>
            </a:r>
            <a:endParaRPr lang="zh-CN" altLang="en-US" b="1" dirty="0">
              <a:solidFill>
                <a:srgbClr val="FFFFFF"/>
              </a:solidFill>
              <a:latin typeface="微软雅黑" panose="020B0503020204020204" pitchFamily="34" charset="-122"/>
              <a:ea typeface="微软雅黑" panose="020B0503020204020204" pitchFamily="34" charset="-122"/>
            </a:endParaRPr>
          </a:p>
        </p:txBody>
      </p:sp>
      <p:sp>
        <p:nvSpPr>
          <p:cNvPr id="7" name="等腰三角形 2"/>
          <p:cNvSpPr/>
          <p:nvPr/>
        </p:nvSpPr>
        <p:spPr bwMode="auto">
          <a:xfrm rot="9140283">
            <a:off x="5293730" y="2994186"/>
            <a:ext cx="1623478" cy="1764000"/>
          </a:xfrm>
          <a:custGeom>
            <a:avLst/>
            <a:gdLst>
              <a:gd name="T0" fmla="*/ 894557 w 1152128"/>
              <a:gd name="T1" fmla="*/ 0 h 1333073"/>
              <a:gd name="T2" fmla="*/ 1067648 w 1152128"/>
              <a:gd name="T3" fmla="*/ 298435 h 1333073"/>
              <a:gd name="T4" fmla="*/ 1789113 w 1152128"/>
              <a:gd name="T5" fmla="*/ 1175543 h 1333073"/>
              <a:gd name="T6" fmla="*/ 894557 w 1152128"/>
              <a:gd name="T7" fmla="*/ 2070100 h 1333073"/>
              <a:gd name="T8" fmla="*/ 0 w 1152128"/>
              <a:gd name="T9" fmla="*/ 1175543 h 1333073"/>
              <a:gd name="T10" fmla="*/ 721465 w 1152128"/>
              <a:gd name="T11" fmla="*/ 298435 h 1333073"/>
              <a:gd name="T12" fmla="*/ 894557 w 1152128"/>
              <a:gd name="T13" fmla="*/ 0 h 13330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128" h="1333073">
                <a:moveTo>
                  <a:pt x="576064" y="0"/>
                </a:moveTo>
                <a:lnTo>
                  <a:pt x="687529" y="192182"/>
                </a:lnTo>
                <a:cubicBezTo>
                  <a:pt x="952381" y="243689"/>
                  <a:pt x="1152128" y="477023"/>
                  <a:pt x="1152128" y="757009"/>
                </a:cubicBezTo>
                <a:cubicBezTo>
                  <a:pt x="1152128" y="1075160"/>
                  <a:pt x="894215" y="1333073"/>
                  <a:pt x="576064" y="1333073"/>
                </a:cubicBezTo>
                <a:cubicBezTo>
                  <a:pt x="257913" y="1333073"/>
                  <a:pt x="0" y="1075160"/>
                  <a:pt x="0" y="757009"/>
                </a:cubicBezTo>
                <a:cubicBezTo>
                  <a:pt x="0" y="477023"/>
                  <a:pt x="199747" y="243689"/>
                  <a:pt x="464599" y="192182"/>
                </a:cubicBezTo>
                <a:lnTo>
                  <a:pt x="576064" y="0"/>
                </a:lnTo>
                <a:close/>
              </a:path>
            </a:pathLst>
          </a:custGeom>
          <a:solidFill>
            <a:schemeClr val="tx2">
              <a:lumMod val="75000"/>
            </a:schemeClr>
          </a:solidFill>
          <a:ln>
            <a:solidFill>
              <a:schemeClr val="bg1"/>
            </a:solidFill>
          </a:ln>
        </p:spPr>
        <p:style>
          <a:lnRef idx="1">
            <a:schemeClr val="accent5"/>
          </a:lnRef>
          <a:fillRef idx="3">
            <a:schemeClr val="accent5"/>
          </a:fillRef>
          <a:effectRef idx="2">
            <a:schemeClr val="accent5"/>
          </a:effectRef>
          <a:fontRef idx="minor">
            <a:schemeClr val="lt1"/>
          </a:fontRef>
        </p:style>
        <p:txBody>
          <a:bodyPr wrap="none" anchor="ctr"/>
          <a:lstStyle/>
          <a:p>
            <a:endParaRPr lang="zh-CN" altLang="en-US"/>
          </a:p>
        </p:txBody>
      </p:sp>
      <p:sp>
        <p:nvSpPr>
          <p:cNvPr id="8" name="TextBox 26"/>
          <p:cNvSpPr txBox="1">
            <a:spLocks noChangeArrowheads="1"/>
          </p:cNvSpPr>
          <p:nvPr/>
        </p:nvSpPr>
        <p:spPr bwMode="auto">
          <a:xfrm>
            <a:off x="5492735" y="3599269"/>
            <a:ext cx="1068697" cy="522266"/>
          </a:xfrm>
          <a:prstGeom prst="rect">
            <a:avLst/>
          </a:prstGeom>
          <a:noFill/>
          <a:ln w="9525">
            <a:noFill/>
            <a:miter lim="800000"/>
          </a:ln>
        </p:spPr>
        <p:txBody>
          <a:bodyPr wrap="none" anchor="ctr"/>
          <a:lstStyle/>
          <a:p>
            <a:pPr algn="ctr"/>
            <a:r>
              <a:rPr lang="zh-CN" altLang="en-US" b="1" dirty="0">
                <a:solidFill>
                  <a:srgbClr val="FFFFFF"/>
                </a:solidFill>
                <a:latin typeface="微软雅黑" panose="020B0503020204020204" pitchFamily="34" charset="-122"/>
                <a:ea typeface="微软雅黑" panose="020B0503020204020204" pitchFamily="34" charset="-122"/>
              </a:rPr>
              <a:t>合作支持</a:t>
            </a:r>
            <a:endParaRPr lang="zh-CN" altLang="en-US" b="1" dirty="0">
              <a:solidFill>
                <a:srgbClr val="FFFFFF"/>
              </a:solidFill>
              <a:latin typeface="微软雅黑" panose="020B0503020204020204" pitchFamily="34" charset="-122"/>
              <a:ea typeface="微软雅黑" panose="020B0503020204020204" pitchFamily="34" charset="-122"/>
            </a:endParaRPr>
          </a:p>
        </p:txBody>
      </p:sp>
      <p:sp>
        <p:nvSpPr>
          <p:cNvPr id="9" name="等腰三角形 2"/>
          <p:cNvSpPr/>
          <p:nvPr/>
        </p:nvSpPr>
        <p:spPr bwMode="auto">
          <a:xfrm rot="16474574">
            <a:off x="4296080" y="1869056"/>
            <a:ext cx="1620000" cy="1925661"/>
          </a:xfrm>
          <a:custGeom>
            <a:avLst/>
            <a:gdLst>
              <a:gd name="T0" fmla="*/ 894556 w 1152128"/>
              <a:gd name="T1" fmla="*/ 0 h 1333073"/>
              <a:gd name="T2" fmla="*/ 1067647 w 1152128"/>
              <a:gd name="T3" fmla="*/ 298435 h 1333073"/>
              <a:gd name="T4" fmla="*/ 1789112 w 1152128"/>
              <a:gd name="T5" fmla="*/ 1175543 h 1333073"/>
              <a:gd name="T6" fmla="*/ 894556 w 1152128"/>
              <a:gd name="T7" fmla="*/ 2070100 h 1333073"/>
              <a:gd name="T8" fmla="*/ 0 w 1152128"/>
              <a:gd name="T9" fmla="*/ 1175543 h 1333073"/>
              <a:gd name="T10" fmla="*/ 721465 w 1152128"/>
              <a:gd name="T11" fmla="*/ 298435 h 1333073"/>
              <a:gd name="T12" fmla="*/ 894556 w 1152128"/>
              <a:gd name="T13" fmla="*/ 0 h 13330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128" h="1333073">
                <a:moveTo>
                  <a:pt x="576064" y="0"/>
                </a:moveTo>
                <a:lnTo>
                  <a:pt x="687529" y="192182"/>
                </a:lnTo>
                <a:cubicBezTo>
                  <a:pt x="952381" y="243689"/>
                  <a:pt x="1152128" y="477023"/>
                  <a:pt x="1152128" y="757009"/>
                </a:cubicBezTo>
                <a:cubicBezTo>
                  <a:pt x="1152128" y="1075160"/>
                  <a:pt x="894215" y="1333073"/>
                  <a:pt x="576064" y="1333073"/>
                </a:cubicBezTo>
                <a:cubicBezTo>
                  <a:pt x="257913" y="1333073"/>
                  <a:pt x="0" y="1075160"/>
                  <a:pt x="0" y="757009"/>
                </a:cubicBezTo>
                <a:cubicBezTo>
                  <a:pt x="0" y="477023"/>
                  <a:pt x="199747" y="243689"/>
                  <a:pt x="464599" y="192182"/>
                </a:cubicBezTo>
                <a:lnTo>
                  <a:pt x="576064" y="0"/>
                </a:lnTo>
                <a:close/>
              </a:path>
            </a:pathLst>
          </a:custGeom>
          <a:solidFill>
            <a:srgbClr val="F55959"/>
          </a:solidFill>
          <a:ln w="28575" cmpd="sng">
            <a:solidFill>
              <a:srgbClr val="F8F8F8"/>
            </a:solidFill>
            <a:round/>
          </a:ln>
        </p:spPr>
        <p:txBody>
          <a:bodyPr wrap="none" anchor="ctr"/>
          <a:lstStyle/>
          <a:p>
            <a:endParaRPr lang="zh-CN" altLang="en-US"/>
          </a:p>
        </p:txBody>
      </p:sp>
      <p:sp>
        <p:nvSpPr>
          <p:cNvPr id="10" name="TextBox 28"/>
          <p:cNvSpPr txBox="1">
            <a:spLocks noChangeArrowheads="1"/>
          </p:cNvSpPr>
          <p:nvPr/>
        </p:nvSpPr>
        <p:spPr bwMode="auto">
          <a:xfrm>
            <a:off x="4644828" y="2547563"/>
            <a:ext cx="1068697" cy="523601"/>
          </a:xfrm>
          <a:prstGeom prst="rect">
            <a:avLst/>
          </a:prstGeom>
          <a:noFill/>
          <a:ln w="9525">
            <a:noFill/>
            <a:miter lim="800000"/>
          </a:ln>
        </p:spPr>
        <p:txBody>
          <a:bodyPr wrap="none" anchor="ctr"/>
          <a:lstStyle/>
          <a:p>
            <a:pPr algn="ctr"/>
            <a:r>
              <a:rPr lang="zh-CN" altLang="en-US" b="1" dirty="0">
                <a:solidFill>
                  <a:srgbClr val="FFFFFF"/>
                </a:solidFill>
                <a:latin typeface="微软雅黑" panose="020B0503020204020204" pitchFamily="34" charset="-122"/>
                <a:ea typeface="微软雅黑" panose="020B0503020204020204" pitchFamily="34" charset="-122"/>
              </a:rPr>
              <a:t>决策支持</a:t>
            </a:r>
            <a:endParaRPr lang="zh-CN" altLang="en-US" b="1" dirty="0">
              <a:solidFill>
                <a:srgbClr val="FFFFFF"/>
              </a:solidFill>
              <a:latin typeface="微软雅黑" panose="020B0503020204020204" pitchFamily="34" charset="-122"/>
              <a:ea typeface="微软雅黑" panose="020B0503020204020204" pitchFamily="34" charset="-122"/>
            </a:endParaRPr>
          </a:p>
        </p:txBody>
      </p:sp>
      <p:sp>
        <p:nvSpPr>
          <p:cNvPr id="11" name="TextBox 29"/>
          <p:cNvSpPr txBox="1">
            <a:spLocks noChangeArrowheads="1"/>
          </p:cNvSpPr>
          <p:nvPr/>
        </p:nvSpPr>
        <p:spPr bwMode="auto">
          <a:xfrm>
            <a:off x="1397251" y="1453236"/>
            <a:ext cx="1370965" cy="368300"/>
          </a:xfrm>
          <a:prstGeom prst="rect">
            <a:avLst/>
          </a:prstGeom>
          <a:noFill/>
          <a:ln w="9525">
            <a:noFill/>
            <a:miter lim="800000"/>
          </a:ln>
        </p:spPr>
        <p:txBody>
          <a:bodyPr wrap="none">
            <a:spAutoFit/>
          </a:bodyPr>
          <a:lstStyle/>
          <a:p>
            <a:r>
              <a:rPr lang="en-US" altLang="zh-CN" b="1" dirty="0">
                <a:solidFill>
                  <a:srgbClr val="4D4D4D"/>
                </a:solidFill>
                <a:latin typeface="微软雅黑" panose="020B0503020204020204" pitchFamily="34" charset="-122"/>
                <a:ea typeface="微软雅黑" panose="020B0503020204020204" pitchFamily="34" charset="-122"/>
              </a:rPr>
              <a:t>■  </a:t>
            </a:r>
            <a:r>
              <a:rPr lang="zh-CN" altLang="en-US" b="1" dirty="0">
                <a:solidFill>
                  <a:srgbClr val="C00000"/>
                </a:solidFill>
                <a:latin typeface="微软雅黑" panose="020B0503020204020204" pitchFamily="34" charset="-122"/>
                <a:ea typeface="微软雅黑" panose="020B0503020204020204" pitchFamily="34" charset="-122"/>
              </a:rPr>
              <a:t>政府依据</a:t>
            </a:r>
            <a:endParaRPr lang="zh-CN" altLang="en-US" b="1" dirty="0">
              <a:solidFill>
                <a:srgbClr val="C00000"/>
              </a:solidFill>
              <a:latin typeface="微软雅黑" panose="020B0503020204020204" pitchFamily="34" charset="-122"/>
              <a:ea typeface="微软雅黑" panose="020B0503020204020204" pitchFamily="34" charset="-122"/>
            </a:endParaRPr>
          </a:p>
        </p:txBody>
      </p:sp>
      <p:sp>
        <p:nvSpPr>
          <p:cNvPr id="12" name="TextBox 30"/>
          <p:cNvSpPr txBox="1">
            <a:spLocks noChangeArrowheads="1"/>
          </p:cNvSpPr>
          <p:nvPr/>
        </p:nvSpPr>
        <p:spPr bwMode="auto">
          <a:xfrm>
            <a:off x="1397000" y="1996440"/>
            <a:ext cx="2150745" cy="3322955"/>
          </a:xfrm>
          <a:prstGeom prst="rect">
            <a:avLst/>
          </a:prstGeom>
          <a:noFill/>
          <a:ln w="9525">
            <a:noFill/>
            <a:miter lim="800000"/>
          </a:ln>
        </p:spPr>
        <p:txBody>
          <a:bodyPr wrap="square">
            <a:spAutoFit/>
          </a:bodyPr>
          <a:lstStyle/>
          <a:p>
            <a:r>
              <a:rPr lang="zh-CN" sz="1400" b="1" dirty="0">
                <a:solidFill>
                  <a:schemeClr val="tx1">
                    <a:lumMod val="75000"/>
                    <a:lumOff val="25000"/>
                  </a:schemeClr>
                </a:solidFill>
                <a:latin typeface="微软雅黑" panose="020B0503020204020204" pitchFamily="34" charset="-122"/>
                <a:ea typeface="微软雅黑" panose="020B0503020204020204" pitchFamily="34" charset="-122"/>
              </a:rPr>
              <a:t>出台了《珠海市人民政府关于应对新型冠状病毒</a:t>
            </a:r>
            <a:endParaRPr lang="zh-CN" sz="1400" b="1" dirty="0">
              <a:solidFill>
                <a:schemeClr val="tx1">
                  <a:lumMod val="75000"/>
                  <a:lumOff val="25000"/>
                </a:schemeClr>
              </a:solidFill>
              <a:latin typeface="微软雅黑" panose="020B0503020204020204" pitchFamily="34" charset="-122"/>
              <a:ea typeface="微软雅黑" panose="020B0503020204020204" pitchFamily="34" charset="-122"/>
            </a:endParaRPr>
          </a:p>
          <a:p>
            <a:r>
              <a:rPr lang="zh-CN" sz="1400" b="1" dirty="0">
                <a:solidFill>
                  <a:schemeClr val="tx1">
                    <a:lumMod val="75000"/>
                    <a:lumOff val="25000"/>
                  </a:schemeClr>
                </a:solidFill>
                <a:latin typeface="微软雅黑" panose="020B0503020204020204" pitchFamily="34" charset="-122"/>
                <a:ea typeface="微软雅黑" panose="020B0503020204020204" pitchFamily="34" charset="-122"/>
              </a:rPr>
              <a:t>感染的肺炎疫情支持中小企业共渡难关的若干政策意见》</a:t>
            </a:r>
            <a:r>
              <a:rPr 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珠府【</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2020</a:t>
            </a:r>
            <a:r>
              <a:rPr 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11</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号文、</a:t>
            </a:r>
            <a:r>
              <a:rPr lang="zh-CN" sz="1400" b="1" dirty="0">
                <a:solidFill>
                  <a:schemeClr val="tx1">
                    <a:lumMod val="75000"/>
                    <a:lumOff val="25000"/>
                  </a:schemeClr>
                </a:solidFill>
                <a:latin typeface="微软雅黑" panose="020B0503020204020204" pitchFamily="34" charset="-122"/>
                <a:ea typeface="微软雅黑" panose="020B0503020204020204" pitchFamily="34" charset="-122"/>
              </a:rPr>
              <a:t>《珠海市进一步支持实体经济高质量发展若干政策措施》珠工信【</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rPr>
              <a:t>2019</a:t>
            </a:r>
            <a:r>
              <a:rPr lang="zh-CN" sz="1400" b="1" dirty="0">
                <a:solidFill>
                  <a:schemeClr val="tx1">
                    <a:lumMod val="75000"/>
                    <a:lumOff val="25000"/>
                  </a:schemeClr>
                </a:solidFill>
                <a:latin typeface="微软雅黑" panose="020B0503020204020204" pitchFamily="34" charset="-122"/>
                <a:ea typeface="微软雅黑" panose="020B0503020204020204" pitchFamily="34" charset="-122"/>
              </a:rPr>
              <a:t>】</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rPr>
              <a:t>613</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号文、《珠海市促进实体经济高质量发展专项资金（“四位一体”融资平台信贷风险补偿及贷款贴息用途）</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管理实施细则》</a:t>
            </a:r>
            <a:r>
              <a:rPr 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2019</a:t>
            </a:r>
            <a:r>
              <a:rPr 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531</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号文等。</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
        <p:nvSpPr>
          <p:cNvPr id="13" name="TextBox 31"/>
          <p:cNvSpPr txBox="1">
            <a:spLocks noChangeArrowheads="1"/>
          </p:cNvSpPr>
          <p:nvPr/>
        </p:nvSpPr>
        <p:spPr bwMode="auto">
          <a:xfrm>
            <a:off x="9117997" y="1453236"/>
            <a:ext cx="1370965" cy="368300"/>
          </a:xfrm>
          <a:prstGeom prst="rect">
            <a:avLst/>
          </a:prstGeom>
          <a:noFill/>
          <a:ln w="9525">
            <a:noFill/>
            <a:miter lim="800000"/>
          </a:ln>
        </p:spPr>
        <p:txBody>
          <a:bodyPr wrap="none">
            <a:spAutoFit/>
          </a:bodyPr>
          <a:lstStyle/>
          <a:p>
            <a:r>
              <a:rPr lang="en-US" altLang="zh-CN" b="1" dirty="0">
                <a:solidFill>
                  <a:schemeClr val="tx1">
                    <a:lumMod val="75000"/>
                    <a:lumOff val="25000"/>
                  </a:schemeClr>
                </a:solidFill>
                <a:latin typeface="微软雅黑" panose="020B0503020204020204" pitchFamily="34" charset="-122"/>
                <a:ea typeface="微软雅黑" panose="020B0503020204020204" pitchFamily="34" charset="-122"/>
              </a:rPr>
              <a:t>■  </a:t>
            </a:r>
            <a:r>
              <a:rPr lang="zh-CN" altLang="en-US" b="1" dirty="0">
                <a:solidFill>
                  <a:srgbClr val="C00000"/>
                </a:solidFill>
                <a:latin typeface="微软雅黑" panose="020B0503020204020204" pitchFamily="34" charset="-122"/>
                <a:ea typeface="微软雅黑" panose="020B0503020204020204" pitchFamily="34" charset="-122"/>
              </a:rPr>
              <a:t>金融产品</a:t>
            </a:r>
            <a:endParaRPr lang="zh-CN" altLang="en-US" b="1" dirty="0">
              <a:solidFill>
                <a:srgbClr val="C00000"/>
              </a:solidFill>
              <a:latin typeface="微软雅黑" panose="020B0503020204020204" pitchFamily="34" charset="-122"/>
              <a:ea typeface="微软雅黑" panose="020B0503020204020204" pitchFamily="34" charset="-122"/>
            </a:endParaRPr>
          </a:p>
        </p:txBody>
      </p:sp>
      <p:sp>
        <p:nvSpPr>
          <p:cNvPr id="14" name="TextBox 32"/>
          <p:cNvSpPr txBox="1">
            <a:spLocks noChangeArrowheads="1"/>
          </p:cNvSpPr>
          <p:nvPr/>
        </p:nvSpPr>
        <p:spPr bwMode="auto">
          <a:xfrm>
            <a:off x="8872414" y="3599396"/>
            <a:ext cx="2893380" cy="953135"/>
          </a:xfrm>
          <a:prstGeom prst="rect">
            <a:avLst/>
          </a:prstGeom>
          <a:noFill/>
          <a:ln w="9525">
            <a:noFill/>
            <a:miter lim="800000"/>
          </a:ln>
        </p:spPr>
        <p:txBody>
          <a:bodyPr wrap="square">
            <a:spAutoFit/>
          </a:bodyPr>
          <a:lstStyle/>
          <a:p>
            <a:pPr>
              <a:defRPr/>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平台共有担保贷、支小贷、产业发展</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贷、技改贷 、信用贷、转贷过桥和防疫贷</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7种融资模式。</a:t>
            </a:r>
            <a:endParaRPr lang="zh-CN" altLang="en-US" sz="1400" dirty="0">
              <a:latin typeface="+mn-ea"/>
            </a:endParaRPr>
          </a:p>
          <a:p>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5" name="TextBox 33"/>
          <p:cNvSpPr txBox="1">
            <a:spLocks noChangeArrowheads="1"/>
          </p:cNvSpPr>
          <p:nvPr/>
        </p:nvSpPr>
        <p:spPr bwMode="auto">
          <a:xfrm>
            <a:off x="4292345" y="5213170"/>
            <a:ext cx="2893381" cy="369332"/>
          </a:xfrm>
          <a:prstGeom prst="rect">
            <a:avLst/>
          </a:prstGeom>
          <a:noFill/>
          <a:ln w="9525">
            <a:noFill/>
            <a:miter lim="800000"/>
          </a:ln>
        </p:spPr>
        <p:txBody>
          <a:bodyPr wrap="square">
            <a:spAutoFit/>
          </a:bodyPr>
          <a:lstStyle/>
          <a:p>
            <a:r>
              <a:rPr lang="en-US" altLang="zh-CN" b="1" dirty="0">
                <a:solidFill>
                  <a:schemeClr val="tx1">
                    <a:lumMod val="75000"/>
                    <a:lumOff val="25000"/>
                  </a:schemeClr>
                </a:solidFill>
                <a:latin typeface="微软雅黑" panose="020B0503020204020204" pitchFamily="34" charset="-122"/>
                <a:ea typeface="微软雅黑" panose="020B0503020204020204" pitchFamily="34" charset="-122"/>
              </a:rPr>
              <a:t>■  </a:t>
            </a:r>
            <a:r>
              <a:rPr lang="zh-CN" altLang="en-US" b="1" dirty="0">
                <a:solidFill>
                  <a:srgbClr val="C00000"/>
                </a:solidFill>
                <a:latin typeface="微软雅黑" panose="020B0503020204020204" pitchFamily="34" charset="-122"/>
                <a:ea typeface="微软雅黑" panose="020B0503020204020204" pitchFamily="34" charset="-122"/>
              </a:rPr>
              <a:t>强化多方合作</a:t>
            </a:r>
            <a:endParaRPr lang="zh-CN" altLang="en-US" b="1" dirty="0">
              <a:solidFill>
                <a:srgbClr val="C00000"/>
              </a:solidFill>
              <a:latin typeface="微软雅黑" panose="020B0503020204020204" pitchFamily="34" charset="-122"/>
              <a:ea typeface="微软雅黑" panose="020B0503020204020204" pitchFamily="34" charset="-122"/>
            </a:endParaRPr>
          </a:p>
        </p:txBody>
      </p:sp>
      <p:sp>
        <p:nvSpPr>
          <p:cNvPr id="16" name="TextBox 34"/>
          <p:cNvSpPr txBox="1">
            <a:spLocks noChangeArrowheads="1"/>
          </p:cNvSpPr>
          <p:nvPr/>
        </p:nvSpPr>
        <p:spPr bwMode="auto">
          <a:xfrm>
            <a:off x="4081525" y="5666215"/>
            <a:ext cx="3354628" cy="737235"/>
          </a:xfrm>
          <a:prstGeom prst="rect">
            <a:avLst/>
          </a:prstGeom>
          <a:noFill/>
          <a:ln w="9525">
            <a:noFill/>
            <a:miter lim="800000"/>
          </a:ln>
        </p:spPr>
        <p:txBody>
          <a:bodyPr wrap="square">
            <a:spAutoFit/>
          </a:bodyPr>
          <a:lstStyle/>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平台目前与珠海市</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rPr>
              <a:t>32</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家银行、</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rPr>
              <a:t>9</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家担保公司、</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rPr>
              <a:t>3</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家保险公司达成战略合作伙伴，基本覆盖珠海市金融机构。</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17" name="图片 14"/>
          <p:cNvPicPr>
            <a:picLocks noChangeAspect="1" noChangeArrowheads="1"/>
          </p:cNvPicPr>
          <p:nvPr/>
        </p:nvPicPr>
        <p:blipFill>
          <a:blip r:embed="rId1" cstate="print"/>
          <a:stretch>
            <a:fillRect/>
          </a:stretch>
        </p:blipFill>
        <p:spPr bwMode="auto">
          <a:xfrm>
            <a:off x="7981122" y="5120679"/>
            <a:ext cx="2635628" cy="1430767"/>
          </a:xfrm>
          <a:prstGeom prst="rect">
            <a:avLst/>
          </a:prstGeom>
          <a:noFill/>
          <a:ln w="19050">
            <a:solidFill>
              <a:schemeClr val="bg1">
                <a:lumMod val="75000"/>
              </a:schemeClr>
            </a:solidFill>
            <a:bevel/>
          </a:ln>
        </p:spPr>
      </p:pic>
      <p:pic>
        <p:nvPicPr>
          <p:cNvPr id="19" name="图片 14"/>
          <p:cNvPicPr>
            <a:picLocks noChangeAspect="1" noChangeArrowheads="1"/>
          </p:cNvPicPr>
          <p:nvPr/>
        </p:nvPicPr>
        <p:blipFill>
          <a:blip r:embed="rId2" cstate="print"/>
          <a:stretch>
            <a:fillRect/>
          </a:stretch>
        </p:blipFill>
        <p:spPr bwMode="auto">
          <a:xfrm>
            <a:off x="9117997" y="2004981"/>
            <a:ext cx="2402490" cy="1462298"/>
          </a:xfrm>
          <a:prstGeom prst="rect">
            <a:avLst/>
          </a:prstGeom>
          <a:noFill/>
          <a:ln w="19050">
            <a:solidFill>
              <a:schemeClr val="bg1">
                <a:lumMod val="75000"/>
              </a:schemeClr>
            </a:solidFill>
            <a:bevel/>
          </a:ln>
        </p:spPr>
      </p:pic>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12"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9"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31" presetClass="entr" presetSubtype="0" fill="hold" grpId="0" nodeType="after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p:cTn id="22" dur="300" fill="hold"/>
                                        <p:tgtEl>
                                          <p:spTgt spid="10"/>
                                        </p:tgtEl>
                                        <p:attrNameLst>
                                          <p:attrName>ppt_w</p:attrName>
                                        </p:attrNameLst>
                                      </p:cBhvr>
                                      <p:tavLst>
                                        <p:tav tm="0">
                                          <p:val>
                                            <p:fltVal val="0"/>
                                          </p:val>
                                        </p:tav>
                                        <p:tav tm="100000">
                                          <p:val>
                                            <p:strVal val="#ppt_w"/>
                                          </p:val>
                                        </p:tav>
                                      </p:tavLst>
                                    </p:anim>
                                    <p:anim calcmode="lin" valueType="num">
                                      <p:cBhvr>
                                        <p:cTn id="23" dur="300" fill="hold"/>
                                        <p:tgtEl>
                                          <p:spTgt spid="10"/>
                                        </p:tgtEl>
                                        <p:attrNameLst>
                                          <p:attrName>ppt_h</p:attrName>
                                        </p:attrNameLst>
                                      </p:cBhvr>
                                      <p:tavLst>
                                        <p:tav tm="0">
                                          <p:val>
                                            <p:fltVal val="0"/>
                                          </p:val>
                                        </p:tav>
                                        <p:tav tm="100000">
                                          <p:val>
                                            <p:strVal val="#ppt_h"/>
                                          </p:val>
                                        </p:tav>
                                      </p:tavLst>
                                    </p:anim>
                                    <p:anim calcmode="lin" valueType="num">
                                      <p:cBhvr>
                                        <p:cTn id="24" dur="300" fill="hold"/>
                                        <p:tgtEl>
                                          <p:spTgt spid="10"/>
                                        </p:tgtEl>
                                        <p:attrNameLst>
                                          <p:attrName>style.rotation</p:attrName>
                                        </p:attrNameLst>
                                      </p:cBhvr>
                                      <p:tavLst>
                                        <p:tav tm="0">
                                          <p:val>
                                            <p:fltVal val="90"/>
                                          </p:val>
                                        </p:tav>
                                        <p:tav tm="100000">
                                          <p:val>
                                            <p:fltVal val="0"/>
                                          </p:val>
                                        </p:tav>
                                      </p:tavLst>
                                    </p:anim>
                                    <p:animEffect transition="in" filter="fade">
                                      <p:cBhvr>
                                        <p:cTn id="25" dur="300"/>
                                        <p:tgtEl>
                                          <p:spTgt spid="10"/>
                                        </p:tgtEl>
                                      </p:cBhvr>
                                    </p:animEffect>
                                  </p:childTnLst>
                                </p:cTn>
                              </p:par>
                            </p:childTnLst>
                          </p:cTn>
                        </p:par>
                        <p:par>
                          <p:cTn id="26" fill="hold">
                            <p:stCondLst>
                              <p:cond delay="2000"/>
                            </p:stCondLst>
                            <p:childTnLst>
                              <p:par>
                                <p:cTn id="27" presetID="22" presetClass="entr" presetSubtype="8"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childTnLst>
                          </p:cTn>
                        </p:par>
                        <p:par>
                          <p:cTn id="30" fill="hold">
                            <p:stCondLst>
                              <p:cond delay="2500"/>
                            </p:stCondLst>
                            <p:childTnLst>
                              <p:par>
                                <p:cTn id="31" presetID="22" presetClass="entr" presetSubtype="1"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up)">
                                      <p:cBhvr>
                                        <p:cTn id="33" dur="500"/>
                                        <p:tgtEl>
                                          <p:spTgt spid="12"/>
                                        </p:tgtEl>
                                      </p:cBhvr>
                                    </p:animEffect>
                                  </p:childTnLst>
                                </p:cTn>
                              </p:par>
                            </p:childTnLst>
                          </p:cTn>
                        </p:par>
                        <p:par>
                          <p:cTn id="34" fill="hold">
                            <p:stCondLst>
                              <p:cond delay="3000"/>
                            </p:stCondLst>
                            <p:childTnLst>
                              <p:par>
                                <p:cTn id="35" presetID="31" presetClass="entr" presetSubtype="0"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p:cTn id="37" dur="300" fill="hold"/>
                                        <p:tgtEl>
                                          <p:spTgt spid="6"/>
                                        </p:tgtEl>
                                        <p:attrNameLst>
                                          <p:attrName>ppt_w</p:attrName>
                                        </p:attrNameLst>
                                      </p:cBhvr>
                                      <p:tavLst>
                                        <p:tav tm="0">
                                          <p:val>
                                            <p:fltVal val="0"/>
                                          </p:val>
                                        </p:tav>
                                        <p:tav tm="100000">
                                          <p:val>
                                            <p:strVal val="#ppt_w"/>
                                          </p:val>
                                        </p:tav>
                                      </p:tavLst>
                                    </p:anim>
                                    <p:anim calcmode="lin" valueType="num">
                                      <p:cBhvr>
                                        <p:cTn id="38" dur="300" fill="hold"/>
                                        <p:tgtEl>
                                          <p:spTgt spid="6"/>
                                        </p:tgtEl>
                                        <p:attrNameLst>
                                          <p:attrName>ppt_h</p:attrName>
                                        </p:attrNameLst>
                                      </p:cBhvr>
                                      <p:tavLst>
                                        <p:tav tm="0">
                                          <p:val>
                                            <p:fltVal val="0"/>
                                          </p:val>
                                        </p:tav>
                                        <p:tav tm="100000">
                                          <p:val>
                                            <p:strVal val="#ppt_h"/>
                                          </p:val>
                                        </p:tav>
                                      </p:tavLst>
                                    </p:anim>
                                    <p:anim calcmode="lin" valueType="num">
                                      <p:cBhvr>
                                        <p:cTn id="39" dur="300" fill="hold"/>
                                        <p:tgtEl>
                                          <p:spTgt spid="6"/>
                                        </p:tgtEl>
                                        <p:attrNameLst>
                                          <p:attrName>style.rotation</p:attrName>
                                        </p:attrNameLst>
                                      </p:cBhvr>
                                      <p:tavLst>
                                        <p:tav tm="0">
                                          <p:val>
                                            <p:fltVal val="90"/>
                                          </p:val>
                                        </p:tav>
                                        <p:tav tm="100000">
                                          <p:val>
                                            <p:fltVal val="0"/>
                                          </p:val>
                                        </p:tav>
                                      </p:tavLst>
                                    </p:anim>
                                    <p:animEffect transition="in" filter="fade">
                                      <p:cBhvr>
                                        <p:cTn id="40" dur="300"/>
                                        <p:tgtEl>
                                          <p:spTgt spid="6"/>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left)">
                                      <p:cBhvr>
                                        <p:cTn id="44" dur="250"/>
                                        <p:tgtEl>
                                          <p:spTgt spid="13"/>
                                        </p:tgtEl>
                                      </p:cBhvr>
                                    </p:animEffect>
                                  </p:childTnLst>
                                </p:cTn>
                              </p:par>
                            </p:childTnLst>
                          </p:cTn>
                        </p:par>
                        <p:par>
                          <p:cTn id="45" fill="hold">
                            <p:stCondLst>
                              <p:cond delay="4000"/>
                            </p:stCondLst>
                            <p:childTnLst>
                              <p:par>
                                <p:cTn id="46" presetID="22" presetClass="entr" presetSubtype="1"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up)">
                                      <p:cBhvr>
                                        <p:cTn id="48" dur="10"/>
                                        <p:tgtEl>
                                          <p:spTgt spid="14"/>
                                        </p:tgtEl>
                                      </p:cBhvr>
                                    </p:animEffect>
                                  </p:childTnLst>
                                </p:cTn>
                              </p:par>
                            </p:childTnLst>
                          </p:cTn>
                        </p:par>
                        <p:par>
                          <p:cTn id="49" fill="hold">
                            <p:stCondLst>
                              <p:cond delay="4500"/>
                            </p:stCondLst>
                            <p:childTnLst>
                              <p:par>
                                <p:cTn id="50" presetID="31" presetClass="entr" presetSubtype="0" fill="hold" grpId="0" nodeType="afterEffect">
                                  <p:stCondLst>
                                    <p:cond delay="0"/>
                                  </p:stCondLst>
                                  <p:childTnLst>
                                    <p:set>
                                      <p:cBhvr>
                                        <p:cTn id="51" dur="1" fill="hold">
                                          <p:stCondLst>
                                            <p:cond delay="0"/>
                                          </p:stCondLst>
                                        </p:cTn>
                                        <p:tgtEl>
                                          <p:spTgt spid="8"/>
                                        </p:tgtEl>
                                        <p:attrNameLst>
                                          <p:attrName>style.visibility</p:attrName>
                                        </p:attrNameLst>
                                      </p:cBhvr>
                                      <p:to>
                                        <p:strVal val="visible"/>
                                      </p:to>
                                    </p:set>
                                    <p:anim calcmode="lin" valueType="num">
                                      <p:cBhvr>
                                        <p:cTn id="52" dur="10" fill="hold"/>
                                        <p:tgtEl>
                                          <p:spTgt spid="8"/>
                                        </p:tgtEl>
                                        <p:attrNameLst>
                                          <p:attrName>ppt_w</p:attrName>
                                        </p:attrNameLst>
                                      </p:cBhvr>
                                      <p:tavLst>
                                        <p:tav tm="0">
                                          <p:val>
                                            <p:fltVal val="0"/>
                                          </p:val>
                                        </p:tav>
                                        <p:tav tm="100000">
                                          <p:val>
                                            <p:strVal val="#ppt_w"/>
                                          </p:val>
                                        </p:tav>
                                      </p:tavLst>
                                    </p:anim>
                                    <p:anim calcmode="lin" valueType="num">
                                      <p:cBhvr>
                                        <p:cTn id="53" dur="10" fill="hold"/>
                                        <p:tgtEl>
                                          <p:spTgt spid="8"/>
                                        </p:tgtEl>
                                        <p:attrNameLst>
                                          <p:attrName>ppt_h</p:attrName>
                                        </p:attrNameLst>
                                      </p:cBhvr>
                                      <p:tavLst>
                                        <p:tav tm="0">
                                          <p:val>
                                            <p:fltVal val="0"/>
                                          </p:val>
                                        </p:tav>
                                        <p:tav tm="100000">
                                          <p:val>
                                            <p:strVal val="#ppt_h"/>
                                          </p:val>
                                        </p:tav>
                                      </p:tavLst>
                                    </p:anim>
                                    <p:anim calcmode="lin" valueType="num">
                                      <p:cBhvr>
                                        <p:cTn id="54" dur="10" fill="hold"/>
                                        <p:tgtEl>
                                          <p:spTgt spid="8"/>
                                        </p:tgtEl>
                                        <p:attrNameLst>
                                          <p:attrName>style.rotation</p:attrName>
                                        </p:attrNameLst>
                                      </p:cBhvr>
                                      <p:tavLst>
                                        <p:tav tm="0">
                                          <p:val>
                                            <p:fltVal val="90"/>
                                          </p:val>
                                        </p:tav>
                                        <p:tav tm="100000">
                                          <p:val>
                                            <p:fltVal val="0"/>
                                          </p:val>
                                        </p:tav>
                                      </p:tavLst>
                                    </p:anim>
                                    <p:animEffect transition="in" filter="fade">
                                      <p:cBhvr>
                                        <p:cTn id="55" dur="10"/>
                                        <p:tgtEl>
                                          <p:spTgt spid="8"/>
                                        </p:tgtEl>
                                      </p:cBhvr>
                                    </p:animEffect>
                                  </p:childTnLst>
                                </p:cTn>
                              </p:par>
                            </p:childTnLst>
                          </p:cTn>
                        </p:par>
                        <p:par>
                          <p:cTn id="56" fill="hold">
                            <p:stCondLst>
                              <p:cond delay="5000"/>
                            </p:stCondLst>
                            <p:childTnLst>
                              <p:par>
                                <p:cTn id="57" presetID="22" presetClass="entr" presetSubtype="8" fill="hold" grpId="0" nodeType="after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wipe(left)">
                                      <p:cBhvr>
                                        <p:cTn id="59" dur="10"/>
                                        <p:tgtEl>
                                          <p:spTgt spid="15"/>
                                        </p:tgtEl>
                                      </p:cBhvr>
                                    </p:animEffect>
                                  </p:childTnLst>
                                </p:cTn>
                              </p:par>
                            </p:childTnLst>
                          </p:cTn>
                        </p:par>
                        <p:par>
                          <p:cTn id="60" fill="hold">
                            <p:stCondLst>
                              <p:cond delay="5500"/>
                            </p:stCondLst>
                            <p:childTnLst>
                              <p:par>
                                <p:cTn id="61" presetID="22" presetClass="entr" presetSubtype="1" fill="hold" grpId="0" nodeType="afterEffect">
                                  <p:stCondLst>
                                    <p:cond delay="250"/>
                                  </p:stCondLst>
                                  <p:childTnLst>
                                    <p:set>
                                      <p:cBhvr>
                                        <p:cTn id="62" dur="1" fill="hold">
                                          <p:stCondLst>
                                            <p:cond delay="0"/>
                                          </p:stCondLst>
                                        </p:cTn>
                                        <p:tgtEl>
                                          <p:spTgt spid="16"/>
                                        </p:tgtEl>
                                        <p:attrNameLst>
                                          <p:attrName>style.visibility</p:attrName>
                                        </p:attrNameLst>
                                      </p:cBhvr>
                                      <p:to>
                                        <p:strVal val="visible"/>
                                      </p:to>
                                    </p:set>
                                    <p:animEffect transition="in" filter="wipe(up)">
                                      <p:cBhvr>
                                        <p:cTn id="63" dur="10"/>
                                        <p:tgtEl>
                                          <p:spTgt spid="16"/>
                                        </p:tgtEl>
                                      </p:cBhvr>
                                    </p:animEffect>
                                  </p:childTnLst>
                                </p:cTn>
                              </p:par>
                            </p:childTnLst>
                          </p:cTn>
                        </p:par>
                        <p:par>
                          <p:cTn id="64" fill="hold">
                            <p:stCondLst>
                              <p:cond delay="6250"/>
                            </p:stCondLst>
                            <p:childTnLst>
                              <p:par>
                                <p:cTn id="65" presetID="2" presetClass="entr" presetSubtype="12" fill="hold" nodeType="after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p:cTn id="67" dur="10" fill="hold"/>
                                        <p:tgtEl>
                                          <p:spTgt spid="19"/>
                                        </p:tgtEl>
                                        <p:attrNameLst>
                                          <p:attrName>ppt_x</p:attrName>
                                        </p:attrNameLst>
                                      </p:cBhvr>
                                      <p:tavLst>
                                        <p:tav tm="0">
                                          <p:val>
                                            <p:strVal val="0-#ppt_w/2"/>
                                          </p:val>
                                        </p:tav>
                                        <p:tav tm="100000">
                                          <p:val>
                                            <p:strVal val="#ppt_x"/>
                                          </p:val>
                                        </p:tav>
                                      </p:tavLst>
                                    </p:anim>
                                    <p:anim calcmode="lin" valueType="num">
                                      <p:cBhvr>
                                        <p:cTn id="68" dur="10" fill="hold"/>
                                        <p:tgtEl>
                                          <p:spTgt spid="19"/>
                                        </p:tgtEl>
                                        <p:attrNameLst>
                                          <p:attrName>ppt_y</p:attrName>
                                        </p:attrNameLst>
                                      </p:cBhvr>
                                      <p:tavLst>
                                        <p:tav tm="0">
                                          <p:val>
                                            <p:strVal val="1+#ppt_h/2"/>
                                          </p:val>
                                        </p:tav>
                                        <p:tav tm="100000">
                                          <p:val>
                                            <p:strVal val="#ppt_y"/>
                                          </p:val>
                                        </p:tav>
                                      </p:tavLst>
                                    </p:anim>
                                  </p:childTnLst>
                                </p:cTn>
                              </p:par>
                            </p:childTnLst>
                          </p:cTn>
                        </p:par>
                        <p:par>
                          <p:cTn id="69" fill="hold">
                            <p:stCondLst>
                              <p:cond delay="6750"/>
                            </p:stCondLst>
                            <p:childTnLst>
                              <p:par>
                                <p:cTn id="70" presetID="2" presetClass="entr" presetSubtype="12" fill="hold" nodeType="afterEffect">
                                  <p:stCondLst>
                                    <p:cond delay="0"/>
                                  </p:stCondLst>
                                  <p:childTnLst>
                                    <p:set>
                                      <p:cBhvr>
                                        <p:cTn id="71" dur="1" fill="hold">
                                          <p:stCondLst>
                                            <p:cond delay="0"/>
                                          </p:stCondLst>
                                        </p:cTn>
                                        <p:tgtEl>
                                          <p:spTgt spid="17"/>
                                        </p:tgtEl>
                                        <p:attrNameLst>
                                          <p:attrName>style.visibility</p:attrName>
                                        </p:attrNameLst>
                                      </p:cBhvr>
                                      <p:to>
                                        <p:strVal val="visible"/>
                                      </p:to>
                                    </p:set>
                                    <p:anim calcmode="lin" valueType="num">
                                      <p:cBhvr>
                                        <p:cTn id="72" dur="10" fill="hold"/>
                                        <p:tgtEl>
                                          <p:spTgt spid="17"/>
                                        </p:tgtEl>
                                        <p:attrNameLst>
                                          <p:attrName>ppt_x</p:attrName>
                                        </p:attrNameLst>
                                      </p:cBhvr>
                                      <p:tavLst>
                                        <p:tav tm="0">
                                          <p:val>
                                            <p:strVal val="0-#ppt_w/2"/>
                                          </p:val>
                                        </p:tav>
                                        <p:tav tm="100000">
                                          <p:val>
                                            <p:strVal val="#ppt_x"/>
                                          </p:val>
                                        </p:tav>
                                      </p:tavLst>
                                    </p:anim>
                                    <p:anim calcmode="lin" valueType="num">
                                      <p:cBhvr>
                                        <p:cTn id="73" dur="1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P spid="6" grpId="0" autoUpdateAnimBg="0"/>
      <p:bldP spid="7" grpId="0" bldLvl="0" animBg="1"/>
      <p:bldP spid="8" grpId="0" autoUpdateAnimBg="0"/>
      <p:bldP spid="9" grpId="0" bldLvl="0" animBg="1"/>
      <p:bldP spid="10" grpId="0" autoUpdateAnimBg="0"/>
      <p:bldP spid="11" grpId="0" autoUpdateAnimBg="0"/>
      <p:bldP spid="12" grpId="0" autoUpdateAnimBg="0"/>
      <p:bldP spid="13" grpId="0" autoUpdateAnimBg="0"/>
      <p:bldP spid="14" grpId="0" autoUpdateAnimBg="0"/>
      <p:bldP spid="15" grpId="0" autoUpdateAnimBg="0"/>
      <p:bldP spid="16" grpId="0" autoUpdateAnimBg="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三、</a:t>
            </a:r>
            <a:r>
              <a:rPr lang="zh-CN" altLang="en-US"/>
              <a:t>支持方式</a:t>
            </a:r>
            <a:endParaRPr lang="zh-CN" altLang="en-US"/>
          </a:p>
        </p:txBody>
      </p:sp>
      <p:sp>
        <p:nvSpPr>
          <p:cNvPr id="3" name="页脚占位符 2"/>
          <p:cNvSpPr>
            <a:spLocks noGrp="1"/>
          </p:cNvSpPr>
          <p:nvPr>
            <p:ph type="ftr" sz="quarter" idx="11"/>
          </p:nvPr>
        </p:nvSpPr>
        <p:spPr/>
        <p:txBody>
          <a:bodyPr/>
          <a:p>
            <a:r>
              <a:rPr lang="zh-CN" altLang="en-US"/>
              <a:t>请在插入菜单</a:t>
            </a:r>
            <a:r>
              <a:rPr lang="en-US" altLang="zh-CN"/>
              <a:t>—</a:t>
            </a:r>
            <a:r>
              <a:rPr lang="zh-CN" altLang="en-US"/>
              <a:t>页眉和页脚中修改此文本</a:t>
            </a:r>
            <a:endParaRPr lang="zh-CN" altLang="en-US" dirty="0"/>
          </a:p>
        </p:txBody>
      </p:sp>
      <p:sp>
        <p:nvSpPr>
          <p:cNvPr id="4" name="灯片编号占位符 3"/>
          <p:cNvSpPr>
            <a:spLocks noGrp="1"/>
          </p:cNvSpPr>
          <p:nvPr>
            <p:ph type="sldNum" sz="quarter" idx="12"/>
          </p:nvPr>
        </p:nvSpPr>
        <p:spPr/>
        <p:txBody>
          <a:bodyPr/>
          <a:p>
            <a:fld id="{5DD3DB80-B894-403A-B48E-6FDC1A72010E}" type="slidenum">
              <a:rPr lang="zh-CN" altLang="en-US" smtClean="0"/>
            </a:fld>
            <a:endParaRPr lang="zh-CN" altLang="en-US"/>
          </a:p>
        </p:txBody>
      </p:sp>
      <p:sp>
        <p:nvSpPr>
          <p:cNvPr id="12" name="TextBox 30"/>
          <p:cNvSpPr txBox="1">
            <a:spLocks noChangeArrowheads="1"/>
          </p:cNvSpPr>
          <p:nvPr/>
        </p:nvSpPr>
        <p:spPr bwMode="auto">
          <a:xfrm>
            <a:off x="1397000" y="1996440"/>
            <a:ext cx="9855200" cy="4030980"/>
          </a:xfrm>
          <a:prstGeom prst="rect">
            <a:avLst/>
          </a:prstGeom>
          <a:noFill/>
          <a:ln w="9525">
            <a:noFill/>
            <a:miter lim="800000"/>
          </a:ln>
        </p:spPr>
        <p:txBody>
          <a:bodyPr wrap="square">
            <a:spAutoFit/>
          </a:bodyPr>
          <a:p>
            <a:r>
              <a:rPr lang="zh-CN" altLang="en-US" sz="2000" b="1" dirty="0">
                <a:solidFill>
                  <a:srgbClr val="E43F3F"/>
                </a:solidFill>
                <a:latin typeface="微软雅黑" panose="020B0503020204020204" pitchFamily="34" charset="-122"/>
                <a:ea typeface="微软雅黑" panose="020B0503020204020204" pitchFamily="34" charset="-122"/>
                <a:sym typeface="+mn-ea"/>
              </a:rPr>
              <a:t>（一）贷款风险分担。</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扶持对象为</a:t>
            </a:r>
            <a:r>
              <a:rPr lang="zh-CN" altLang="en-US" sz="1400" b="1" dirty="0">
                <a:solidFill>
                  <a:srgbClr val="00B0F0"/>
                </a:solidFill>
                <a:latin typeface="微软雅黑" panose="020B0503020204020204" pitchFamily="34" charset="-122"/>
                <a:ea typeface="微软雅黑" panose="020B0503020204020204" pitchFamily="34" charset="-122"/>
                <a:sym typeface="+mn-ea"/>
              </a:rPr>
              <a:t>合作机构</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对如下五个类别给予风险补偿。</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1、</a:t>
            </a:r>
            <a:r>
              <a:rPr lang="zh-CN" altLang="en-US" sz="1400" b="1" dirty="0">
                <a:solidFill>
                  <a:srgbClr val="00B0F0"/>
                </a:solidFill>
                <a:latin typeface="微软雅黑" panose="020B0503020204020204" pitchFamily="34" charset="-122"/>
                <a:ea typeface="微软雅黑" panose="020B0503020204020204" pitchFamily="34" charset="-122"/>
                <a:sym typeface="+mn-ea"/>
              </a:rPr>
              <a:t>产业发展贷：</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合作银行为《珠海市产业发展导向目录》中优先发展类和鼓励发展类企业发放 3000 万元（含）以下规模            </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                         贷款形成的不良贷款。</a:t>
            </a:r>
            <a:endParaRPr lang="zh-CN" altLang="en-US" sz="1400" b="1" dirty="0">
              <a:solidFill>
                <a:srgbClr val="00B0F0"/>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2、</a:t>
            </a:r>
            <a:r>
              <a:rPr lang="zh-CN" altLang="en-US" sz="1400" b="1" dirty="0">
                <a:solidFill>
                  <a:srgbClr val="00B0F0"/>
                </a:solidFill>
                <a:latin typeface="微软雅黑" panose="020B0503020204020204" pitchFamily="34" charset="-122"/>
                <a:ea typeface="微软雅黑" panose="020B0503020204020204" pitchFamily="34" charset="-122"/>
                <a:sym typeface="+mn-ea"/>
              </a:rPr>
              <a:t>信用贷：</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合作银行为我市战略性新兴产业的中小微企业发放信用贷款形成的不良贷款。</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3、</a:t>
            </a:r>
            <a:r>
              <a:rPr lang="zh-CN" altLang="en-US" sz="1400" b="1" dirty="0">
                <a:solidFill>
                  <a:srgbClr val="00B0F0"/>
                </a:solidFill>
                <a:latin typeface="微软雅黑" panose="020B0503020204020204" pitchFamily="34" charset="-122"/>
                <a:ea typeface="微软雅黑" panose="020B0503020204020204" pitchFamily="34" charset="-122"/>
                <a:sym typeface="+mn-ea"/>
              </a:rPr>
              <a:t>支小贷：</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合作银行使用支小再贷款资金发放贷款形成的不良贷款。</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4、</a:t>
            </a:r>
            <a:r>
              <a:rPr lang="zh-CN" altLang="en-US" sz="1400" b="1" dirty="0">
                <a:solidFill>
                  <a:srgbClr val="00B0F0"/>
                </a:solidFill>
                <a:latin typeface="微软雅黑" panose="020B0503020204020204" pitchFamily="34" charset="-122"/>
                <a:ea typeface="微软雅黑" panose="020B0503020204020204" pitchFamily="34" charset="-122"/>
                <a:sym typeface="+mn-ea"/>
              </a:rPr>
              <a:t>技改贷：</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合作银行为我市工业企业技术改造贷款项目发放贷款形成的不良贷款。</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5、</a:t>
            </a:r>
            <a:r>
              <a:rPr lang="zh-CN" altLang="en-US" sz="1400" b="1" dirty="0">
                <a:solidFill>
                  <a:srgbClr val="00B0F0"/>
                </a:solidFill>
                <a:latin typeface="微软雅黑" panose="020B0503020204020204" pitchFamily="34" charset="-122"/>
                <a:ea typeface="微软雅黑" panose="020B0503020204020204" pitchFamily="34" charset="-122"/>
                <a:sym typeface="+mn-ea"/>
              </a:rPr>
              <a:t>担保贷：</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合作融资担保机构（或保险机构）为我市中小微企业担保贷款发生的代偿。</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2000" b="1" dirty="0">
                <a:solidFill>
                  <a:srgbClr val="E43F3F"/>
                </a:solidFill>
                <a:latin typeface="微软雅黑" panose="020B0503020204020204" pitchFamily="34" charset="-122"/>
                <a:ea typeface="微软雅黑" panose="020B0503020204020204" pitchFamily="34" charset="-122"/>
                <a:sym typeface="+mn-ea"/>
              </a:rPr>
              <a:t>（二）贷款贴息。</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扶持对象为</a:t>
            </a:r>
            <a:r>
              <a:rPr lang="zh-CN" altLang="en-US" sz="1400" b="1" dirty="0">
                <a:solidFill>
                  <a:srgbClr val="00B0F0"/>
                </a:solidFill>
                <a:latin typeface="微软雅黑" panose="020B0503020204020204" pitchFamily="34" charset="-122"/>
                <a:ea typeface="微软雅黑" panose="020B0503020204020204" pitchFamily="34" charset="-122"/>
                <a:sym typeface="+mn-ea"/>
              </a:rPr>
              <a:t>企业</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包括如下四个类别。  </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1、</a:t>
            </a:r>
            <a:r>
              <a:rPr lang="zh-CN" altLang="en-US" sz="1400" b="1" dirty="0">
                <a:solidFill>
                  <a:srgbClr val="00B0F0"/>
                </a:solidFill>
                <a:latin typeface="微软雅黑" panose="020B0503020204020204" pitchFamily="34" charset="-122"/>
                <a:ea typeface="微软雅黑" panose="020B0503020204020204" pitchFamily="34" charset="-122"/>
                <a:sym typeface="+mn-ea"/>
              </a:rPr>
              <a:t>信用贷：</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对我市战略性新兴产业的中小微企业获得合作银行发放信用贷款的给予贴息。</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2、</a:t>
            </a:r>
            <a:r>
              <a:rPr lang="zh-CN" altLang="en-US" sz="1400" b="1" dirty="0">
                <a:solidFill>
                  <a:srgbClr val="00B0F0"/>
                </a:solidFill>
                <a:latin typeface="微软雅黑" panose="020B0503020204020204" pitchFamily="34" charset="-122"/>
                <a:ea typeface="微软雅黑" panose="020B0503020204020204" pitchFamily="34" charset="-122"/>
                <a:sym typeface="+mn-ea"/>
              </a:rPr>
              <a:t>担保贷：</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对获得融资担保贷款、保险贷款的中小微企业给予贴息和担保费补贴。</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3、</a:t>
            </a:r>
            <a:r>
              <a:rPr lang="zh-CN" altLang="en-US" sz="1400" b="1" dirty="0">
                <a:solidFill>
                  <a:srgbClr val="00B0F0"/>
                </a:solidFill>
                <a:latin typeface="微软雅黑" panose="020B0503020204020204" pitchFamily="34" charset="-122"/>
                <a:ea typeface="微软雅黑" panose="020B0503020204020204" pitchFamily="34" charset="-122"/>
                <a:sym typeface="+mn-ea"/>
              </a:rPr>
              <a:t>支小贷：</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对获得商业银行使用支小再贷款资金贷款的中小微企业给予贴息。</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4、</a:t>
            </a:r>
            <a:r>
              <a:rPr lang="zh-CN" altLang="en-US" sz="1400" b="1" dirty="0">
                <a:solidFill>
                  <a:srgbClr val="00B0F0"/>
                </a:solidFill>
                <a:latin typeface="微软雅黑" panose="020B0503020204020204" pitchFamily="34" charset="-122"/>
                <a:ea typeface="微软雅黑" panose="020B0503020204020204" pitchFamily="34" charset="-122"/>
                <a:sym typeface="+mn-ea"/>
              </a:rPr>
              <a:t>转贷过桥：</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对通过我市政策性融资担保机构和小额贷款公司获得不超过3个月过桥资金的中小微企业给予贴息。</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2000" b="1" dirty="0">
                <a:solidFill>
                  <a:srgbClr val="E43F3F"/>
                </a:solidFill>
                <a:latin typeface="微软雅黑" panose="020B0503020204020204" pitchFamily="34" charset="-122"/>
                <a:ea typeface="微软雅黑" panose="020B0503020204020204" pitchFamily="34" charset="-122"/>
                <a:sym typeface="+mn-ea"/>
              </a:rPr>
              <a:t>（三）转贷过桥。</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使用对象为</a:t>
            </a:r>
            <a:r>
              <a:rPr lang="zh-CN" altLang="en-US" sz="1400" b="1" dirty="0">
                <a:solidFill>
                  <a:srgbClr val="00B0F0"/>
                </a:solidFill>
                <a:latin typeface="微软雅黑" panose="020B0503020204020204" pitchFamily="34" charset="-122"/>
                <a:ea typeface="微软雅黑" panose="020B0503020204020204" pitchFamily="34" charset="-122"/>
                <a:sym typeface="+mn-ea"/>
              </a:rPr>
              <a:t>企业</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包括如下两类。</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1、由珠海华金普惠金融控股有限公司利用规模6000万元“转贷引导资金池”为企业提供银行贷款到期过桥资金帮助；</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2、由我市政策性融资担保机构和小额贷款公司为企业提供不超过3个月银行贷款到期过桥资金帮助。</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utoUpdateAnimBg="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三、支持方式</a:t>
            </a:r>
            <a:endParaRPr lang="zh-CN" altLang="en-US"/>
          </a:p>
        </p:txBody>
      </p:sp>
      <p:sp>
        <p:nvSpPr>
          <p:cNvPr id="3" name="页脚占位符 2"/>
          <p:cNvSpPr>
            <a:spLocks noGrp="1"/>
          </p:cNvSpPr>
          <p:nvPr>
            <p:ph type="ftr" sz="quarter" idx="11"/>
          </p:nvPr>
        </p:nvSpPr>
        <p:spPr/>
        <p:txBody>
          <a:bodyPr/>
          <a:p>
            <a:r>
              <a:rPr lang="zh-CN" altLang="en-US"/>
              <a:t>请在插入菜单</a:t>
            </a:r>
            <a:r>
              <a:rPr lang="en-US" altLang="zh-CN"/>
              <a:t>—</a:t>
            </a:r>
            <a:r>
              <a:rPr lang="zh-CN" altLang="en-US"/>
              <a:t>页眉和页脚中修改此文本</a:t>
            </a:r>
            <a:endParaRPr lang="zh-CN" altLang="en-US" dirty="0"/>
          </a:p>
        </p:txBody>
      </p:sp>
      <p:sp>
        <p:nvSpPr>
          <p:cNvPr id="4" name="灯片编号占位符 3"/>
          <p:cNvSpPr>
            <a:spLocks noGrp="1"/>
          </p:cNvSpPr>
          <p:nvPr>
            <p:ph type="sldNum" sz="quarter" idx="12"/>
          </p:nvPr>
        </p:nvSpPr>
        <p:spPr/>
        <p:txBody>
          <a:bodyPr/>
          <a:p>
            <a:fld id="{5DD3DB80-B894-403A-B48E-6FDC1A72010E}" type="slidenum">
              <a:rPr lang="zh-CN" altLang="en-US" smtClean="0"/>
            </a:fld>
            <a:endParaRPr lang="zh-CN" altLang="en-US"/>
          </a:p>
        </p:txBody>
      </p:sp>
      <p:sp>
        <p:nvSpPr>
          <p:cNvPr id="12" name="TextBox 30"/>
          <p:cNvSpPr txBox="1">
            <a:spLocks noChangeArrowheads="1"/>
          </p:cNvSpPr>
          <p:nvPr/>
        </p:nvSpPr>
        <p:spPr bwMode="auto">
          <a:xfrm>
            <a:off x="1397000" y="1996440"/>
            <a:ext cx="9855200" cy="4061460"/>
          </a:xfrm>
          <a:prstGeom prst="rect">
            <a:avLst/>
          </a:prstGeom>
          <a:noFill/>
          <a:ln w="9525">
            <a:noFill/>
            <a:miter lim="800000"/>
          </a:ln>
        </p:spPr>
        <p:txBody>
          <a:bodyPr wrap="square">
            <a:spAutoFit/>
          </a:bodyPr>
          <a:p>
            <a:r>
              <a:rPr lang="zh-CN" altLang="en-US" sz="2000" b="1" dirty="0">
                <a:solidFill>
                  <a:srgbClr val="E43F3F"/>
                </a:solidFill>
                <a:latin typeface="微软雅黑" panose="020B0503020204020204" pitchFamily="34" charset="-122"/>
                <a:ea typeface="微软雅黑" panose="020B0503020204020204" pitchFamily="34" charset="-122"/>
                <a:sym typeface="+mn-ea"/>
              </a:rPr>
              <a:t>今年新增</a:t>
            </a:r>
            <a:r>
              <a:rPr lang="en-US" altLang="zh-CN" sz="2000" b="1" dirty="0">
                <a:solidFill>
                  <a:srgbClr val="E43F3F"/>
                </a:solidFill>
                <a:latin typeface="微软雅黑" panose="020B0503020204020204" pitchFamily="34" charset="-122"/>
                <a:ea typeface="微软雅黑" panose="020B0503020204020204" pitchFamily="34" charset="-122"/>
                <a:sym typeface="+mn-ea"/>
              </a:rPr>
              <a:t>“</a:t>
            </a:r>
            <a:r>
              <a:rPr lang="zh-CN" altLang="en-US" sz="2000" b="1" dirty="0">
                <a:solidFill>
                  <a:srgbClr val="E43F3F"/>
                </a:solidFill>
                <a:latin typeface="微软雅黑" panose="020B0503020204020204" pitchFamily="34" charset="-122"/>
                <a:ea typeface="微软雅黑" panose="020B0503020204020204" pitchFamily="34" charset="-122"/>
                <a:sym typeface="+mn-ea"/>
              </a:rPr>
              <a:t>暖企十条</a:t>
            </a:r>
            <a:r>
              <a:rPr lang="en-US" altLang="zh-CN" sz="2000" b="1" dirty="0">
                <a:solidFill>
                  <a:srgbClr val="E43F3F"/>
                </a:solidFill>
                <a:latin typeface="微软雅黑" panose="020B0503020204020204" pitchFamily="34" charset="-122"/>
                <a:ea typeface="微软雅黑" panose="020B0503020204020204" pitchFamily="34" charset="-122"/>
                <a:sym typeface="+mn-ea"/>
              </a:rPr>
              <a:t>”</a:t>
            </a:r>
            <a:r>
              <a:rPr lang="zh-CN" altLang="en-US" sz="2000" b="1" dirty="0">
                <a:solidFill>
                  <a:srgbClr val="E43F3F"/>
                </a:solidFill>
                <a:latin typeface="微软雅黑" panose="020B0503020204020204" pitchFamily="34" charset="-122"/>
                <a:ea typeface="微软雅黑" panose="020B0503020204020204" pitchFamily="34" charset="-122"/>
                <a:sym typeface="+mn-ea"/>
              </a:rPr>
              <a:t>有关风险分担和贷款贴息，纳入平台上兑现。称</a:t>
            </a:r>
            <a:r>
              <a:rPr lang="en-US" altLang="zh-CN" sz="2000" b="1" dirty="0">
                <a:solidFill>
                  <a:srgbClr val="E43F3F"/>
                </a:solidFill>
                <a:latin typeface="微软雅黑" panose="020B0503020204020204" pitchFamily="34" charset="-122"/>
                <a:ea typeface="微软雅黑" panose="020B0503020204020204" pitchFamily="34" charset="-122"/>
                <a:sym typeface="+mn-ea"/>
              </a:rPr>
              <a:t>“</a:t>
            </a:r>
            <a:r>
              <a:rPr lang="zh-CN" altLang="en-US" sz="2000" b="1" dirty="0">
                <a:solidFill>
                  <a:srgbClr val="E43F3F"/>
                </a:solidFill>
                <a:latin typeface="微软雅黑" panose="020B0503020204020204" pitchFamily="34" charset="-122"/>
                <a:ea typeface="微软雅黑" panose="020B0503020204020204" pitchFamily="34" charset="-122"/>
                <a:sym typeface="+mn-ea"/>
              </a:rPr>
              <a:t>防疫贷</a:t>
            </a:r>
            <a:r>
              <a:rPr lang="en-US" altLang="zh-CN" sz="2000" b="1" dirty="0">
                <a:solidFill>
                  <a:srgbClr val="E43F3F"/>
                </a:solidFill>
                <a:latin typeface="微软雅黑" panose="020B0503020204020204" pitchFamily="34" charset="-122"/>
                <a:ea typeface="微软雅黑" panose="020B0503020204020204" pitchFamily="34" charset="-122"/>
                <a:sym typeface="+mn-ea"/>
              </a:rPr>
              <a:t>”</a:t>
            </a:r>
            <a:endParaRPr lang="zh-CN" altLang="en-US" sz="2000" b="1" dirty="0">
              <a:solidFill>
                <a:srgbClr val="E43F3F"/>
              </a:solidFill>
              <a:latin typeface="微软雅黑" panose="020B0503020204020204" pitchFamily="34" charset="-122"/>
              <a:ea typeface="微软雅黑" panose="020B0503020204020204" pitchFamily="34" charset="-122"/>
              <a:sym typeface="+mn-ea"/>
            </a:endParaRPr>
          </a:p>
          <a:p>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rPr>
              <a:t>    </a:t>
            </a: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rPr>
              <a:t>如下十类企业贷款</a:t>
            </a: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rPr>
              <a:t>支持方式包括风险分担和贷款贴息</a:t>
            </a:r>
            <a:endPar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1.纳入全国性名单、地方性名单的中小企业；</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2.符合全国性名单、地方性名单支持范围的中小企业；</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3.为疫情防控保障物资生产企业、收储企业提供原材料供应、生产、运输及销售配套服务上下游的中小企业； </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4.药品及医用物资生产加工型的中小企业； </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5.医药流通、销售的中小企业； </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6.卫生、清洁、消毒等日用化工生产加工的中小企业； </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7.物流运输的中小企业； </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8.固废、医废、污水无害化处理领域的企业，以及为疫区提供高效与清洁能源、水资源供应等基础设施服务的中小企业；</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9.为广东省提供粮食、蔬菜、兽禽、水产、苗种、饲料、兽药、动物防疫物资等民生供保的中小企业；</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10.其他在疫情防控发挥重要作用的中小企业。</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utoUpdateAnimBg="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三、支持方式</a:t>
            </a:r>
            <a:endParaRPr lang="zh-CN" altLang="en-US"/>
          </a:p>
        </p:txBody>
      </p:sp>
      <p:sp>
        <p:nvSpPr>
          <p:cNvPr id="3" name="页脚占位符 2"/>
          <p:cNvSpPr>
            <a:spLocks noGrp="1"/>
          </p:cNvSpPr>
          <p:nvPr>
            <p:ph type="ftr" sz="quarter" idx="11"/>
          </p:nvPr>
        </p:nvSpPr>
        <p:spPr/>
        <p:txBody>
          <a:bodyPr/>
          <a:p>
            <a:r>
              <a:rPr lang="zh-CN" altLang="en-US"/>
              <a:t>请在插入菜单</a:t>
            </a:r>
            <a:r>
              <a:rPr lang="en-US" altLang="zh-CN"/>
              <a:t>—</a:t>
            </a:r>
            <a:r>
              <a:rPr lang="zh-CN" altLang="en-US"/>
              <a:t>页眉和页脚中修改此文本</a:t>
            </a:r>
            <a:endParaRPr lang="zh-CN" altLang="en-US" dirty="0"/>
          </a:p>
        </p:txBody>
      </p:sp>
      <p:sp>
        <p:nvSpPr>
          <p:cNvPr id="4" name="灯片编号占位符 3"/>
          <p:cNvSpPr>
            <a:spLocks noGrp="1"/>
          </p:cNvSpPr>
          <p:nvPr>
            <p:ph type="sldNum" sz="quarter" idx="12"/>
          </p:nvPr>
        </p:nvSpPr>
        <p:spPr/>
        <p:txBody>
          <a:bodyPr/>
          <a:p>
            <a:fld id="{5DD3DB80-B894-403A-B48E-6FDC1A72010E}" type="slidenum">
              <a:rPr lang="zh-CN" altLang="en-US" smtClean="0"/>
            </a:fld>
            <a:endParaRPr lang="zh-CN" altLang="en-US"/>
          </a:p>
        </p:txBody>
      </p:sp>
      <p:sp>
        <p:nvSpPr>
          <p:cNvPr id="12" name="TextBox 30"/>
          <p:cNvSpPr txBox="1">
            <a:spLocks noChangeArrowheads="1"/>
          </p:cNvSpPr>
          <p:nvPr/>
        </p:nvSpPr>
        <p:spPr bwMode="auto">
          <a:xfrm>
            <a:off x="1397000" y="1996440"/>
            <a:ext cx="9855200" cy="2768600"/>
          </a:xfrm>
          <a:prstGeom prst="rect">
            <a:avLst/>
          </a:prstGeom>
          <a:noFill/>
          <a:ln w="9525">
            <a:noFill/>
            <a:miter lim="800000"/>
          </a:ln>
        </p:spPr>
        <p:txBody>
          <a:bodyPr wrap="square">
            <a:spAutoFit/>
          </a:bodyPr>
          <a:p>
            <a:r>
              <a:rPr lang="zh-CN" altLang="en-US" sz="2000" b="1" dirty="0">
                <a:solidFill>
                  <a:srgbClr val="E43F3F"/>
                </a:solidFill>
                <a:latin typeface="微软雅黑" panose="020B0503020204020204" pitchFamily="34" charset="-122"/>
                <a:ea typeface="微软雅黑" panose="020B0503020204020204" pitchFamily="34" charset="-122"/>
                <a:sym typeface="+mn-ea"/>
              </a:rPr>
              <a:t>今年新增</a:t>
            </a:r>
            <a:r>
              <a:rPr lang="en-US" altLang="zh-CN" sz="2000" b="1" dirty="0">
                <a:solidFill>
                  <a:srgbClr val="E43F3F"/>
                </a:solidFill>
                <a:latin typeface="微软雅黑" panose="020B0503020204020204" pitchFamily="34" charset="-122"/>
                <a:ea typeface="微软雅黑" panose="020B0503020204020204" pitchFamily="34" charset="-122"/>
                <a:sym typeface="+mn-ea"/>
              </a:rPr>
              <a:t>“</a:t>
            </a:r>
            <a:r>
              <a:rPr lang="zh-CN" altLang="en-US" sz="2000" b="1" dirty="0">
                <a:solidFill>
                  <a:srgbClr val="E43F3F"/>
                </a:solidFill>
                <a:latin typeface="微软雅黑" panose="020B0503020204020204" pitchFamily="34" charset="-122"/>
                <a:ea typeface="微软雅黑" panose="020B0503020204020204" pitchFamily="34" charset="-122"/>
                <a:sym typeface="+mn-ea"/>
              </a:rPr>
              <a:t>暖企十条</a:t>
            </a:r>
            <a:r>
              <a:rPr lang="en-US" altLang="zh-CN" sz="2000" b="1" dirty="0">
                <a:solidFill>
                  <a:srgbClr val="E43F3F"/>
                </a:solidFill>
                <a:latin typeface="微软雅黑" panose="020B0503020204020204" pitchFamily="34" charset="-122"/>
                <a:ea typeface="微软雅黑" panose="020B0503020204020204" pitchFamily="34" charset="-122"/>
                <a:sym typeface="+mn-ea"/>
              </a:rPr>
              <a:t>”</a:t>
            </a:r>
            <a:r>
              <a:rPr lang="zh-CN" altLang="en-US" sz="2000" b="1" dirty="0">
                <a:solidFill>
                  <a:srgbClr val="E43F3F"/>
                </a:solidFill>
                <a:latin typeface="微软雅黑" panose="020B0503020204020204" pitchFamily="34" charset="-122"/>
                <a:ea typeface="微软雅黑" panose="020B0503020204020204" pitchFamily="34" charset="-122"/>
                <a:sym typeface="+mn-ea"/>
              </a:rPr>
              <a:t>，在平台上增加</a:t>
            </a:r>
            <a:r>
              <a:rPr lang="en-US" altLang="zh-CN" sz="2000" b="1" dirty="0">
                <a:solidFill>
                  <a:srgbClr val="E43F3F"/>
                </a:solidFill>
                <a:latin typeface="微软雅黑" panose="020B0503020204020204" pitchFamily="34" charset="-122"/>
                <a:ea typeface="微软雅黑" panose="020B0503020204020204" pitchFamily="34" charset="-122"/>
                <a:sym typeface="+mn-ea"/>
              </a:rPr>
              <a:t>“</a:t>
            </a:r>
            <a:r>
              <a:rPr lang="zh-CN" altLang="en-US" sz="2000" b="1" dirty="0">
                <a:solidFill>
                  <a:srgbClr val="E43F3F"/>
                </a:solidFill>
                <a:latin typeface="微软雅黑" panose="020B0503020204020204" pitchFamily="34" charset="-122"/>
                <a:ea typeface="微软雅黑" panose="020B0503020204020204" pitchFamily="34" charset="-122"/>
                <a:sym typeface="+mn-ea"/>
              </a:rPr>
              <a:t>防疫贷</a:t>
            </a:r>
            <a:r>
              <a:rPr lang="en-US" altLang="zh-CN" sz="2000" b="1" dirty="0">
                <a:solidFill>
                  <a:srgbClr val="E43F3F"/>
                </a:solidFill>
                <a:latin typeface="微软雅黑" panose="020B0503020204020204" pitchFamily="34" charset="-122"/>
                <a:ea typeface="微软雅黑" panose="020B0503020204020204" pitchFamily="34" charset="-122"/>
                <a:sym typeface="+mn-ea"/>
              </a:rPr>
              <a:t>”</a:t>
            </a:r>
            <a:r>
              <a:rPr lang="zh-CN" altLang="en-US" sz="2000" b="1" dirty="0">
                <a:solidFill>
                  <a:srgbClr val="E43F3F"/>
                </a:solidFill>
                <a:latin typeface="微软雅黑" panose="020B0503020204020204" pitchFamily="34" charset="-122"/>
                <a:ea typeface="微软雅黑" panose="020B0503020204020204" pitchFamily="34" charset="-122"/>
                <a:sym typeface="+mn-ea"/>
              </a:rPr>
              <a:t>项目。</a:t>
            </a:r>
            <a:endParaRPr lang="zh-CN" altLang="en-US" sz="2000" b="1" dirty="0">
              <a:solidFill>
                <a:srgbClr val="E43F3F"/>
              </a:solidFill>
              <a:latin typeface="微软雅黑" panose="020B0503020204020204" pitchFamily="34" charset="-122"/>
              <a:ea typeface="微软雅黑" panose="020B0503020204020204" pitchFamily="34" charset="-122"/>
              <a:sym typeface="+mn-ea"/>
            </a:endParaRPr>
          </a:p>
          <a:p>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rPr>
              <a:t>  如下两种贷款</a:t>
            </a: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rPr>
              <a:t>给予</a:t>
            </a: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rPr>
              <a:t>风险分担</a:t>
            </a:r>
            <a:endPar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endPar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rPr>
              <a:t>1.企业获得珠海市银行业金融机构支持的“市防疫贷款项目”的贷款项目；</a:t>
            </a:r>
            <a:endPar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endPar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rPr>
              <a:t>2.受疫情影响较大，同时符合珠海产业发展方向的中小企业、或对民生保障有重要作用的中小企业，包括生产制造业、战略性新兴产业、软件生产及服务业、文体旅游、民生保障、商贸物流、进出口等企业的贷款项目。</a:t>
            </a:r>
            <a:endParaRPr lang="zh-CN" altLang="en-US" b="1"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utoUpdateAnimBg="0"/>
    </p:bldLst>
  </p:timing>
</p:sld>
</file>

<file path=ppt/tags/tag1.xml><?xml version="1.0" encoding="utf-8"?>
<p:tagLst xmlns:p="http://schemas.openxmlformats.org/presentationml/2006/main">
  <p:tag name="ISLIDE.VECTOR" val="c7cd9fd3-95be-4895-a18c-01ed58a21124"/>
</p:tagLst>
</file>

<file path=ppt/tags/tag10.xml><?xml version="1.0" encoding="utf-8"?>
<p:tagLst xmlns:p="http://schemas.openxmlformats.org/presentationml/2006/main">
  <p:tag name="ISLIDE.TEMPLATE" val="https://www.islide.cc;"/>
</p:tagLst>
</file>

<file path=ppt/tags/tag11.xml><?xml version="1.0" encoding="utf-8"?>
<p:tagLst xmlns:p="http://schemas.openxmlformats.org/presentationml/2006/main">
  <p:tag name="ISLIDE.DIAGRAM" val="fcffe110-81da-45b7-bce6-7a84b93415f6"/>
</p:tagLst>
</file>

<file path=ppt/tags/tag12.xml><?xml version="1.0" encoding="utf-8"?>
<p:tagLst xmlns:p="http://schemas.openxmlformats.org/presentationml/2006/main">
  <p:tag name="ISLIDE.TEMPLATE" val="https://www.islide.cc;"/>
</p:tagLst>
</file>

<file path=ppt/tags/tag13.xml><?xml version="1.0" encoding="utf-8"?>
<p:tagLst xmlns:p="http://schemas.openxmlformats.org/presentationml/2006/main">
  <p:tag name="ISLIDE.DIAGRAM" val="271887"/>
</p:tagLst>
</file>

<file path=ppt/tags/tag14.xml><?xml version="1.0" encoding="utf-8"?>
<p:tagLst xmlns:p="http://schemas.openxmlformats.org/presentationml/2006/main">
  <p:tag name="ISLIDE.DIAGRAM" val="264763"/>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1Smkff3fSzGMOuItfjj3Fw"/>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A6S0wzOvQ8a50SA42PUNRg"/>
</p:tagLst>
</file>

<file path=ppt/tags/tag4.xml><?xml version="1.0" encoding="utf-8"?>
<p:tagLst xmlns:p="http://schemas.openxmlformats.org/presentationml/2006/main">
  <p:tag name="ISLIDE.DIAGRAM" val="241197"/>
</p:tagLst>
</file>

<file path=ppt/tags/tag5.xml><?xml version="1.0" encoding="utf-8"?>
<p:tagLst xmlns:p="http://schemas.openxmlformats.org/presentationml/2006/main">
  <p:tag name="ISLIDE.DIAGRAM" val="#355342"/>
</p:tagLst>
</file>

<file path=ppt/tags/tag6.xml><?xml version="1.0" encoding="utf-8"?>
<p:tagLst xmlns:p="http://schemas.openxmlformats.org/presentationml/2006/main">
  <p:tag name="ISLIDE.DIAGRAM" val="#355342;"/>
</p:tagLst>
</file>

<file path=ppt/tags/tag7.xml><?xml version="1.0" encoding="utf-8"?>
<p:tagLst xmlns:p="http://schemas.openxmlformats.org/presentationml/2006/main">
  <p:tag name="ISLIDE.DIAGRAM" val="#331912"/>
</p:tagLst>
</file>

<file path=ppt/tags/tag8.xml><?xml version="1.0" encoding="utf-8"?>
<p:tagLst xmlns:p="http://schemas.openxmlformats.org/presentationml/2006/main">
  <p:tag name="ISLIDE.DIAGRAM" val="#331912;"/>
</p:tagLst>
</file>

<file path=ppt/tags/tag9.xml><?xml version="1.0" encoding="utf-8"?>
<p:tagLst xmlns:p="http://schemas.openxmlformats.org/presentationml/2006/main">
  <p:tag name="ISLIDE.DIAGRAM" val="207510"/>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5513</Words>
  <Application>WPS 演示</Application>
  <PresentationFormat>自定义</PresentationFormat>
  <Paragraphs>466</Paragraphs>
  <Slides>19</Slides>
  <Notes>14</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2</vt:i4>
      </vt:variant>
      <vt:variant>
        <vt:lpstr>幻灯片标题</vt:lpstr>
      </vt:variant>
      <vt:variant>
        <vt:i4>19</vt:i4>
      </vt:variant>
    </vt:vector>
  </HeadingPairs>
  <TitlesOfParts>
    <vt:vector size="32" baseType="lpstr">
      <vt:lpstr>Arial</vt:lpstr>
      <vt:lpstr>宋体</vt:lpstr>
      <vt:lpstr>Wingdings</vt:lpstr>
      <vt:lpstr>思源黑体 CN Medium</vt:lpstr>
      <vt:lpstr>黑体</vt:lpstr>
      <vt:lpstr>微软雅黑</vt:lpstr>
      <vt:lpstr>Arial Black</vt:lpstr>
      <vt:lpstr>Impact</vt:lpstr>
      <vt:lpstr>Arial Unicode MS</vt:lpstr>
      <vt:lpstr>Calibri</vt:lpstr>
      <vt:lpstr>主题5</vt:lpstr>
      <vt:lpstr>TCLayout.ActiveDocument.1</vt:lpstr>
      <vt:lpstr>TCLayout.ActiveDocument.1</vt:lpstr>
      <vt:lpstr>珠海市“四位一体”融资平台介绍</vt:lpstr>
      <vt:lpstr>珠海市中小企业服务中心简介</vt:lpstr>
      <vt:lpstr>简介</vt:lpstr>
      <vt:lpstr>“四位一体”融资平台相关业务</vt:lpstr>
      <vt:lpstr>融资平台简介</vt:lpstr>
      <vt:lpstr>平台优势</vt:lpstr>
      <vt:lpstr>PowerPoint 演示文稿</vt:lpstr>
      <vt:lpstr>三、支持方式</vt:lpstr>
      <vt:lpstr>三、支持方式</vt:lpstr>
      <vt:lpstr>支小贷业务</vt:lpstr>
      <vt:lpstr>产品特色</vt:lpstr>
      <vt:lpstr>技改贷业务</vt:lpstr>
      <vt:lpstr>产品要素</vt:lpstr>
      <vt:lpstr>转贷引导融资平台业务</vt:lpstr>
      <vt:lpstr>PowerPoint 演示文稿</vt:lpstr>
      <vt:lpstr>PowerPoint 演示文稿</vt:lpstr>
      <vt:lpstr>PowerPoint 演示文稿</vt:lpstr>
      <vt:lpstr>联系我们</vt:lpstr>
      <vt:lpstr>- 感谢聆听 -</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李仲:</cp:lastModifiedBy>
  <cp:revision>319</cp:revision>
  <cp:lastPrinted>2017-11-14T16:00:00Z</cp:lastPrinted>
  <dcterms:created xsi:type="dcterms:W3CDTF">2017-11-14T16:00:00Z</dcterms:created>
  <dcterms:modified xsi:type="dcterms:W3CDTF">2020-07-09T04:4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8.2.8506</vt:lpwstr>
  </property>
</Properties>
</file>